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94" r:id="rId5"/>
    <p:sldMasterId id="2147483738" r:id="rId6"/>
  </p:sldMasterIdLst>
  <p:notesMasterIdLst>
    <p:notesMasterId r:id="rId11"/>
  </p:notesMasterIdLst>
  <p:sldIdLst>
    <p:sldId id="584" r:id="rId7"/>
    <p:sldId id="574" r:id="rId8"/>
    <p:sldId id="592" r:id="rId9"/>
    <p:sldId id="572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ramack, Steve (Enterprise Solutions)" initials="TS(S" lastIdx="10" clrIdx="0">
    <p:extLst>
      <p:ext uri="{19B8F6BF-5375-455C-9EA6-DF929625EA0E}">
        <p15:presenceInfo xmlns:p15="http://schemas.microsoft.com/office/powerpoint/2012/main" userId="S-1-5-21-839522115-1383384898-515967899-2586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E67"/>
    <a:srgbClr val="2AD2C9"/>
    <a:srgbClr val="70AC4C"/>
    <a:srgbClr val="755E7A"/>
    <a:srgbClr val="7030A0"/>
    <a:srgbClr val="2771DA"/>
    <a:srgbClr val="00946F"/>
    <a:srgbClr val="D4F6F5"/>
    <a:srgbClr val="CC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203" autoAdjust="0"/>
    <p:restoredTop sz="96433" autoAdjust="0"/>
  </p:normalViewPr>
  <p:slideViewPr>
    <p:cSldViewPr snapToGrid="0">
      <p:cViewPr varScale="1">
        <p:scale>
          <a:sx n="116" d="100"/>
          <a:sy n="116" d="100"/>
        </p:scale>
        <p:origin x="780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71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slide" Target="slides/slide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viewProps" Target="viewProps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ramack, Steve (Enterprise Solutions)" userId="14c612b7-917d-4605-b68a-90a41ba85401" providerId="ADAL" clId="{89EA3D4E-A226-4E15-A63A-C789A7E10807}"/>
    <pc:docChg chg="modSld">
      <pc:chgData name="Tramack, Steve (Enterprise Solutions)" userId="14c612b7-917d-4605-b68a-90a41ba85401" providerId="ADAL" clId="{89EA3D4E-A226-4E15-A63A-C789A7E10807}" dt="2020-03-02T20:27:29.952" v="81" actId="20577"/>
      <pc:docMkLst>
        <pc:docMk/>
      </pc:docMkLst>
      <pc:sldChg chg="modSp">
        <pc:chgData name="Tramack, Steve (Enterprise Solutions)" userId="14c612b7-917d-4605-b68a-90a41ba85401" providerId="ADAL" clId="{89EA3D4E-A226-4E15-A63A-C789A7E10807}" dt="2020-03-02T20:27:29.952" v="81" actId="20577"/>
        <pc:sldMkLst>
          <pc:docMk/>
          <pc:sldMk cId="3070006567" sldId="572"/>
        </pc:sldMkLst>
        <pc:spChg chg="mod">
          <ac:chgData name="Tramack, Steve (Enterprise Solutions)" userId="14c612b7-917d-4605-b68a-90a41ba85401" providerId="ADAL" clId="{89EA3D4E-A226-4E15-A63A-C789A7E10807}" dt="2020-03-02T20:27:29.952" v="81" actId="20577"/>
          <ac:spMkLst>
            <pc:docMk/>
            <pc:sldMk cId="3070006567" sldId="572"/>
            <ac:spMk id="3" creationId="{00000000-0000-0000-0000-00000000000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ADBD64-1FC2-49FB-929B-03231C7A94BA}" type="datetimeFigureOut">
              <a:rPr lang="en-US" smtClean="0"/>
              <a:t>3/22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F5F335-9DAC-481C-B313-0A77A2151A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44286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Relationship Id="rId4" Type="http://schemas.openxmlformats.org/officeDocument/2006/relationships/hyperlink" Target="https://hpe.kadanza.com/kadanza/photography/ppt-title-images/#/overview" TargetMode="Externa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pattFill prst="pct5">
          <a:fgClr>
            <a:schemeClr val="accent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9128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dirty="0"/>
              <a:t>Click </a:t>
            </a:r>
            <a:r>
              <a:rPr lang="en-US" dirty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57ADE0-BDB2-4AA1-A6EF-F18B42451940}" type="datetime4">
              <a:rPr lang="en-US" smtClean="0">
                <a:solidFill>
                  <a:prstClr val="black"/>
                </a:solidFill>
              </a:rPr>
              <a:pPr/>
              <a:t>March 22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9124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661437" y="1017722"/>
            <a:ext cx="3149563" cy="5078278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supporting text</a:t>
            </a:r>
          </a:p>
          <a:p>
            <a:pPr lvl="0"/>
            <a:endParaRPr lang="en-US" dirty="0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20"/>
          </p:nvPr>
        </p:nvSpPr>
        <p:spPr>
          <a:xfrm>
            <a:off x="389696" y="1017588"/>
            <a:ext cx="7864475" cy="50784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29617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115301" y="1017722"/>
            <a:ext cx="3695700" cy="5078278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supporting text</a:t>
            </a:r>
          </a:p>
          <a:p>
            <a:pPr lvl="0"/>
            <a:endParaRPr lang="en-US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7470648" cy="5078412"/>
          </a:xfrm>
        </p:spPr>
        <p:txBody>
          <a:bodyPr/>
          <a:lstStyle>
            <a:lvl1pPr marL="0" indent="0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2899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115301" y="1017722"/>
            <a:ext cx="3695700" cy="5078278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supporting text</a:t>
            </a:r>
          </a:p>
          <a:p>
            <a:pPr lvl="0"/>
            <a:endParaRPr lang="en-US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7470648" cy="5078412"/>
          </a:xfrm>
        </p:spPr>
        <p:txBody>
          <a:bodyPr/>
          <a:lstStyle>
            <a:lvl1pPr marL="0" indent="0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026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43788"/>
            <a:ext cx="5596576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5605272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3" hasCustomPrompt="1"/>
          </p:nvPr>
        </p:nvSpPr>
        <p:spPr bwMode="ltGray">
          <a:xfrm>
            <a:off x="6214763" y="4943788"/>
            <a:ext cx="5596576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4" hasCustomPrompt="1"/>
          </p:nvPr>
        </p:nvSpPr>
        <p:spPr>
          <a:xfrm>
            <a:off x="6206067" y="1017588"/>
            <a:ext cx="5605272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94847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61194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4252498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41388" y="4943788"/>
            <a:ext cx="3687004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2000">
                <a:latin typeface="MetricHPE Light" panose="020B03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132692" y="1017588"/>
            <a:ext cx="368700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249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1002" y="521016"/>
            <a:ext cx="6143922" cy="2828660"/>
          </a:xfrm>
        </p:spPr>
        <p:txBody>
          <a:bodyPr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 dirty="0"/>
              <a:t>Click to add thank you message</a:t>
            </a:r>
          </a:p>
        </p:txBody>
      </p:sp>
      <p:sp>
        <p:nvSpPr>
          <p:cNvPr id="15" name="Rectangle 14"/>
          <p:cNvSpPr/>
          <p:nvPr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3528820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Speaker contact information</a:t>
            </a:r>
            <a:endParaRPr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2465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</p:grp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  <p:sp>
        <p:nvSpPr>
          <p:cNvPr id="16" name="Rectangle 15"/>
          <p:cNvSpPr/>
          <p:nvPr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1081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Two-Line Title</a:t>
            </a:r>
          </a:p>
        </p:txBody>
      </p:sp>
      <p:sp>
        <p:nvSpPr>
          <p:cNvPr id="5" name="Rectangle 4"/>
          <p:cNvSpPr/>
          <p:nvPr/>
        </p:nvSpPr>
        <p:spPr>
          <a:xfrm>
            <a:off x="383369" y="1228187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2149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Two-Line Tit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1205694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8" name="Rectangle 7"/>
          <p:cNvSpPr/>
          <p:nvPr/>
        </p:nvSpPr>
        <p:spPr>
          <a:xfrm>
            <a:off x="385100" y="161869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9806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2416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8014" y="6248401"/>
            <a:ext cx="969471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6F0DB-1D79-44FD-827D-9447C69856DA}" type="datetime4">
              <a:rPr lang="en-US" smtClean="0">
                <a:solidFill>
                  <a:prstClr val="white"/>
                </a:solidFill>
              </a:rPr>
              <a:pPr/>
              <a:t>March 22, 2020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Private | Confidential | 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81810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8203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89696" y="2703886"/>
            <a:ext cx="3567901" cy="795528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two</a:t>
            </a:r>
            <a:r>
              <a:rPr dirty="0"/>
              <a:t>-line subtitl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2516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1000" y="2534960"/>
            <a:ext cx="3546475" cy="3446462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9967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Picture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edge-to-edge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391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1000" y="2534960"/>
            <a:ext cx="3546475" cy="3446462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5746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057636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82575" indent="-282575">
              <a:buFont typeface="Arial" panose="020B0604020202020204" pitchFamily="34" charset="0"/>
              <a:buChar char="•"/>
              <a:defRPr/>
            </a:lvl1pPr>
            <a:lvl2pPr marL="631825" indent="-290513">
              <a:buFont typeface="Arial" panose="020B0604020202020204" pitchFamily="34" charset="0"/>
              <a:buChar char="•"/>
              <a:defRPr/>
            </a:lvl2pPr>
            <a:lvl3pPr marL="914400" indent="-282575">
              <a:buFont typeface="Arial" panose="020B0604020202020204" pitchFamily="34" charset="0"/>
              <a:buChar char="•"/>
              <a:tabLst>
                <a:tab pos="398463" algn="l"/>
              </a:tabLst>
              <a:defRPr/>
            </a:lvl3pPr>
            <a:lvl4pPr marL="1254125" indent="-292100">
              <a:buFont typeface="Arial" panose="020B0604020202020204" pitchFamily="34" charset="0"/>
              <a:buChar char="•"/>
              <a:defRPr/>
            </a:lvl4pPr>
            <a:lvl5pPr marL="1546225" indent="-282575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F864E8-15A0-4055-AA0E-D4149EE3CDA6}" type="datetime4">
              <a:rPr lang="en-US" smtClean="0">
                <a:solidFill>
                  <a:prstClr val="black"/>
                </a:solidFill>
              </a:rPr>
              <a:pPr/>
              <a:t>March 22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400"/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92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A50B1-E936-40D6-8E13-BB4397D8F18A}" type="datetime4">
              <a:rPr lang="en-US" smtClean="0">
                <a:solidFill>
                  <a:prstClr val="black"/>
                </a:solidFill>
              </a:rPr>
              <a:pPr/>
              <a:t>March 22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9905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8EA60B-68A1-47D0-9AFE-61CC409BCAA4}" type="datetime4">
              <a:rPr lang="en-US" smtClean="0">
                <a:solidFill>
                  <a:prstClr val="black"/>
                </a:solidFill>
              </a:rPr>
              <a:pPr/>
              <a:t>March 22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533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505094-5B8D-4315-A849-6D2A0D630FB6}" type="datetime4">
              <a:rPr lang="en-US" smtClean="0">
                <a:solidFill>
                  <a:prstClr val="black"/>
                </a:solidFill>
              </a:rPr>
              <a:pPr/>
              <a:t>March 22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3566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6AE337-C088-4F24-AB9D-AD162351A4D3}" type="datetime4">
              <a:rPr lang="en-US" smtClean="0">
                <a:solidFill>
                  <a:prstClr val="black"/>
                </a:solidFill>
              </a:rPr>
              <a:pPr/>
              <a:t>March 22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7009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E3B084-B58F-4299-AB3F-D821286B1D29}" type="datetime4">
              <a:rPr lang="en-US" smtClean="0">
                <a:solidFill>
                  <a:prstClr val="black"/>
                </a:solidFill>
              </a:rPr>
              <a:pPr/>
              <a:t>March 22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6749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1E17B0-71FA-40A2-B9AC-8A20B77B34A4}" type="datetime4">
              <a:rPr lang="en-US" smtClean="0">
                <a:solidFill>
                  <a:prstClr val="black"/>
                </a:solidFill>
              </a:rPr>
              <a:pPr/>
              <a:t>March 22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1910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D20EB-7BE6-42C8-9FFC-857661A76BB9}" type="datetime4">
              <a:rPr lang="en-US" smtClean="0">
                <a:solidFill>
                  <a:prstClr val="black"/>
                </a:solidFill>
              </a:rPr>
              <a:pPr/>
              <a:t>March 22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7743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606423" y="456997"/>
            <a:ext cx="3027151" cy="121940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06707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63B4D3-4D95-41B6-AE77-1F1CCD28645A}" type="datetime4">
              <a:rPr lang="en-US" smtClean="0">
                <a:solidFill>
                  <a:prstClr val="black"/>
                </a:solidFill>
              </a:rPr>
              <a:pPr/>
              <a:t>March 22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484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39879-E133-45FD-8B27-1BBB4A3BF6AE}" type="datetime4">
              <a:rPr lang="en-US" smtClean="0">
                <a:solidFill>
                  <a:prstClr val="black"/>
                </a:solidFill>
              </a:rPr>
              <a:pPr/>
              <a:t>March 22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1021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3C7AC-C72F-45CF-9FE5-ECB0DB33F7D3}" type="datetime4">
              <a:rPr lang="en-US" smtClean="0">
                <a:solidFill>
                  <a:prstClr val="black"/>
                </a:solidFill>
              </a:rPr>
              <a:pPr/>
              <a:t>March 22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597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891EC1-601B-4717-B5D6-A3E2445DB15D}" type="datetime4">
              <a:rPr lang="en-US" smtClean="0">
                <a:solidFill>
                  <a:prstClr val="black"/>
                </a:solidFill>
              </a:rPr>
              <a:pPr/>
              <a:t>March 22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1576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D871A2-87AA-41A9-A542-426CD99C94FC}" type="datetime4">
              <a:rPr lang="en-US" smtClean="0">
                <a:solidFill>
                  <a:prstClr val="black"/>
                </a:solidFill>
              </a:rPr>
              <a:pPr/>
              <a:t>March 22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2821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1590AB-D23E-49E3-A4C2-376C4BCF6B6B}" type="datetime4">
              <a:rPr lang="en-US" smtClean="0">
                <a:solidFill>
                  <a:prstClr val="black"/>
                </a:solidFill>
              </a:rPr>
              <a:pPr/>
              <a:t>March 22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2147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F5FDEE-4A3B-4DEB-9469-DD36B5B1AA66}" type="datetime4">
              <a:rPr lang="en-US" smtClean="0">
                <a:solidFill>
                  <a:prstClr val="black"/>
                </a:solidFill>
              </a:rPr>
              <a:pPr/>
              <a:t>March 22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1056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B66A53-78B9-45D2-B920-28A9DE2604FE}" type="datetime4">
              <a:rPr lang="en-US" smtClean="0">
                <a:solidFill>
                  <a:prstClr val="black"/>
                </a:solidFill>
              </a:rPr>
              <a:pPr/>
              <a:t>March 22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2236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E741D3-68D4-4CAF-9FAA-5AAE7EB8A106}" type="datetime4">
              <a:rPr lang="en-US" smtClean="0">
                <a:solidFill>
                  <a:prstClr val="black"/>
                </a:solidFill>
              </a:rPr>
              <a:pPr/>
              <a:t>March 22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6349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D52189-DA61-4500-8FC0-A591D490450E}" type="datetime4">
              <a:rPr lang="en-US" smtClean="0">
                <a:solidFill>
                  <a:prstClr val="black"/>
                </a:solidFill>
              </a:rPr>
              <a:pPr/>
              <a:t>March 22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0147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2" y="457200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3336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DF79E95-C3BF-4BAB-8003-9A0BB433488F}" type="datetime4">
              <a:rPr lang="en-US" smtClean="0">
                <a:solidFill>
                  <a:prstClr val="black"/>
                </a:solidFill>
              </a:rPr>
              <a:pPr/>
              <a:t>March 22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1236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61283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D08367-A1EF-430C-8CA7-EE89F48FF8B6}" type="datetime4">
              <a:rPr lang="en-US" smtClean="0">
                <a:solidFill>
                  <a:prstClr val="black"/>
                </a:solidFill>
              </a:rPr>
              <a:pPr/>
              <a:t>March 22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7790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363200" y="519236"/>
            <a:ext cx="1219198" cy="5576764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519235"/>
            <a:ext cx="9677400" cy="557676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D265C9-368A-4190-8656-8B456021B165}" type="datetime4">
              <a:rPr lang="en-US" smtClean="0">
                <a:solidFill>
                  <a:prstClr val="black"/>
                </a:solidFill>
              </a:rPr>
              <a:pPr/>
              <a:t>March 22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7670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© 2018 Teradata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9255597"/>
      </p:ext>
    </p:extLst>
  </p:cSld>
  <p:clrMapOvr>
    <a:masterClrMapping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© 2018 Teradata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600" y="426718"/>
            <a:ext cx="10972800" cy="9587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09600" y="975361"/>
            <a:ext cx="10960293" cy="410095"/>
          </a:xfrm>
        </p:spPr>
        <p:txBody>
          <a:bodyPr/>
          <a:lstStyle>
            <a:lvl1pPr marL="0" indent="0">
              <a:buNone/>
              <a:defRPr sz="2133">
                <a:solidFill>
                  <a:srgbClr val="5F606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2693735"/>
      </p:ext>
    </p:extLst>
  </p:cSld>
  <p:clrMapOvr>
    <a:masterClrMapping/>
  </p:clrMapOvr>
  <p:transition spd="med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5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596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5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198"/>
            </a:lvl1pPr>
            <a:lvl2pPr marL="456926" indent="0" algn="ctr">
              <a:buNone/>
              <a:defRPr sz="1998"/>
            </a:lvl2pPr>
            <a:lvl3pPr marL="913852" indent="0" algn="ctr">
              <a:buNone/>
              <a:defRPr sz="1798"/>
            </a:lvl3pPr>
            <a:lvl4pPr marL="1370778" indent="0" algn="ctr">
              <a:buNone/>
              <a:defRPr sz="1600"/>
            </a:lvl4pPr>
            <a:lvl5pPr marL="1827703" indent="0" algn="ctr">
              <a:buNone/>
              <a:defRPr sz="1600"/>
            </a:lvl5pPr>
            <a:lvl6pPr marL="2284628" indent="0" algn="ctr">
              <a:buNone/>
              <a:defRPr sz="1600"/>
            </a:lvl6pPr>
            <a:lvl7pPr marL="2741554" indent="0" algn="ctr">
              <a:buNone/>
              <a:defRPr sz="1600"/>
            </a:lvl7pPr>
            <a:lvl8pPr marL="3198480" indent="0" algn="ctr">
              <a:buNone/>
              <a:defRPr sz="1600"/>
            </a:lvl8pPr>
            <a:lvl9pPr marL="365540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998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6425" y="457001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08207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5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596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5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198"/>
            </a:lvl1pPr>
            <a:lvl2pPr marL="456926" indent="0" algn="ctr">
              <a:buNone/>
              <a:defRPr sz="1998"/>
            </a:lvl2pPr>
            <a:lvl3pPr marL="913852" indent="0" algn="ctr">
              <a:buNone/>
              <a:defRPr sz="1798"/>
            </a:lvl3pPr>
            <a:lvl4pPr marL="1370778" indent="0" algn="ctr">
              <a:buNone/>
              <a:defRPr sz="1600"/>
            </a:lvl4pPr>
            <a:lvl5pPr marL="1827703" indent="0" algn="ctr">
              <a:buNone/>
              <a:defRPr sz="1600"/>
            </a:lvl5pPr>
            <a:lvl6pPr marL="2284628" indent="0" algn="ctr">
              <a:buNone/>
              <a:defRPr sz="1600"/>
            </a:lvl6pPr>
            <a:lvl7pPr marL="2741554" indent="0" algn="ctr">
              <a:buNone/>
              <a:defRPr sz="1600"/>
            </a:lvl7pPr>
            <a:lvl8pPr marL="3198480" indent="0" algn="ctr">
              <a:buNone/>
              <a:defRPr sz="1600"/>
            </a:lvl8pPr>
            <a:lvl9pPr marL="365540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998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606425" y="457001"/>
            <a:ext cx="3027151" cy="121940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635118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7996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7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3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7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4" y="457204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1998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5" y="457001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65897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196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3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798">
                <a:solidFill>
                  <a:schemeClr val="tx1"/>
                </a:solidFill>
              </a:defRPr>
            </a:lvl1pPr>
            <a:lvl2pPr marL="456926" indent="0">
              <a:buNone/>
              <a:defRPr sz="1998">
                <a:solidFill>
                  <a:schemeClr val="tx1">
                    <a:tint val="75000"/>
                  </a:schemeClr>
                </a:solidFill>
              </a:defRPr>
            </a:lvl2pPr>
            <a:lvl3pPr marL="913852" indent="0">
              <a:buNone/>
              <a:defRPr sz="1798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7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62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5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4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4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22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5267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663F77-47C4-461C-B72B-3EDC3ED8ABF3}" type="datetime4">
              <a:rPr lang="en-US" smtClean="0">
                <a:solidFill>
                  <a:prstClr val="black"/>
                </a:solidFill>
              </a:rPr>
              <a:pPr/>
              <a:t>March 22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8972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5" y="608806"/>
            <a:ext cx="10971370" cy="54864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798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603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99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198">
                <a:solidFill>
                  <a:schemeClr val="bg1"/>
                </a:solidFill>
              </a:defRPr>
            </a:lvl1pPr>
            <a:lvl2pPr marL="456926" indent="0">
              <a:buNone/>
              <a:defRPr sz="1998">
                <a:solidFill>
                  <a:schemeClr val="tx1">
                    <a:tint val="75000"/>
                  </a:schemeClr>
                </a:solidFill>
              </a:defRPr>
            </a:lvl2pPr>
            <a:lvl3pPr marL="913852" indent="0">
              <a:buNone/>
              <a:defRPr sz="1798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7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62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5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4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4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22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1323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50"/>
            <a:ext cx="8228011" cy="576263"/>
          </a:xfrm>
        </p:spPr>
        <p:txBody>
          <a:bodyPr>
            <a:noAutofit/>
          </a:bodyPr>
          <a:lstStyle>
            <a:lvl1pPr>
              <a:defRPr sz="3998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1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22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5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798"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4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34914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50"/>
            <a:ext cx="8228011" cy="576263"/>
          </a:xfrm>
        </p:spPr>
        <p:txBody>
          <a:bodyPr>
            <a:noAutofit/>
          </a:bodyPr>
          <a:lstStyle>
            <a:lvl1pPr>
              <a:defRPr sz="3998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1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22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5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4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798" dirty="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4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16378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50"/>
            <a:ext cx="8228011" cy="576263"/>
          </a:xfrm>
        </p:spPr>
        <p:txBody>
          <a:bodyPr>
            <a:noAutofit/>
          </a:bodyPr>
          <a:lstStyle>
            <a:lvl1pPr>
              <a:defRPr sz="3998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1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4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white"/>
                </a:solidFill>
              </a:rPr>
              <a:pPr/>
              <a:t>3/22/2020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5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798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2176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50"/>
            <a:ext cx="8228011" cy="576263"/>
          </a:xfrm>
        </p:spPr>
        <p:txBody>
          <a:bodyPr>
            <a:noAutofit/>
          </a:bodyPr>
          <a:lstStyle>
            <a:lvl1pPr>
              <a:defRPr sz="3998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1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4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white"/>
                </a:solidFill>
              </a:rPr>
              <a:pPr/>
              <a:t>3/22/2020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5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798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06152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5" y="381000"/>
            <a:ext cx="9456737" cy="2286000"/>
          </a:xfrm>
        </p:spPr>
        <p:txBody>
          <a:bodyPr>
            <a:noAutofit/>
          </a:bodyPr>
          <a:lstStyle>
            <a:lvl1pPr marL="328415" indent="-328415">
              <a:lnSpc>
                <a:spcPct val="80000"/>
              </a:lnSpc>
              <a:defRPr sz="5996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4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998" baseline="0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dirty="0"/>
              <a:t>Click </a:t>
            </a:r>
            <a:r>
              <a:rPr lang="en-US" dirty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610274" y="6248401"/>
            <a:ext cx="969471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22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10" name="Freeform 5"/>
          <p:cNvSpPr>
            <a:spLocks noChangeAspect="1" noEditPoints="1"/>
          </p:cNvSpPr>
          <p:nvPr userDrawn="1"/>
        </p:nvSpPr>
        <p:spPr bwMode="invGray">
          <a:xfrm>
            <a:off x="11589757" y="6321203"/>
            <a:ext cx="356709" cy="356616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1846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5" y="381000"/>
            <a:ext cx="9456737" cy="2286000"/>
          </a:xfrm>
        </p:spPr>
        <p:txBody>
          <a:bodyPr>
            <a:noAutofit/>
          </a:bodyPr>
          <a:lstStyle>
            <a:lvl1pPr marL="328986" indent="-328986">
              <a:lnSpc>
                <a:spcPct val="80000"/>
              </a:lnSpc>
              <a:defRPr sz="5996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4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9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8016" y="6248401"/>
            <a:ext cx="969471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white"/>
                </a:solidFill>
              </a:rPr>
              <a:pPr/>
              <a:t>3/22/2020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65889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22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0937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3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2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398" baseline="0"/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4"/>
            <a:ext cx="10969784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22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0252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3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2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398" baseline="0"/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2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398" b="0" baseline="0"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6"/>
            <a:ext cx="10969784" cy="41178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22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7002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3" y="608806"/>
            <a:ext cx="10971370" cy="54864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7199A4-F69E-4038-809E-DB6345A4D48F}" type="datetime4">
              <a:rPr lang="en-US" smtClean="0">
                <a:solidFill>
                  <a:prstClr val="black"/>
                </a:solidFill>
              </a:rPr>
              <a:pPr/>
              <a:t>March 22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00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22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1447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3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2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398" baseline="0"/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22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5897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22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1137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6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22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3791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6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6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22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078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3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2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398" baseline="0"/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6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6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22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0236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2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6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22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0850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2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2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6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22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1026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3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2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398" baseline="0"/>
            </a:lvl1pPr>
            <a:lvl2pPr marL="0" indent="0">
              <a:spcBef>
                <a:spcPts val="0"/>
              </a:spcBef>
              <a:buNone/>
              <a:defRPr sz="2398"/>
            </a:lvl2pPr>
            <a:lvl3pPr marL="0" indent="0">
              <a:spcBef>
                <a:spcPts val="0"/>
              </a:spcBef>
              <a:buNone/>
              <a:defRPr sz="2398"/>
            </a:lvl3pPr>
            <a:lvl4pPr marL="0" indent="0">
              <a:spcBef>
                <a:spcPts val="0"/>
              </a:spcBef>
              <a:buNone/>
              <a:defRPr sz="2398"/>
            </a:lvl4pPr>
            <a:lvl5pPr marL="0" indent="0">
              <a:spcBef>
                <a:spcPts val="0"/>
              </a:spcBef>
              <a:buNone/>
              <a:defRPr sz="2398"/>
            </a:lvl5pPr>
            <a:lvl6pPr marL="0" indent="0">
              <a:spcBef>
                <a:spcPts val="0"/>
              </a:spcBef>
              <a:buNone/>
              <a:defRPr sz="2398"/>
            </a:lvl6pPr>
            <a:lvl7pPr marL="0" indent="0">
              <a:spcBef>
                <a:spcPts val="0"/>
              </a:spcBef>
              <a:buNone/>
              <a:defRPr sz="2398"/>
            </a:lvl7pPr>
            <a:lvl8pPr marL="0" indent="0">
              <a:spcBef>
                <a:spcPts val="0"/>
              </a:spcBef>
              <a:buNone/>
              <a:defRPr sz="2398"/>
            </a:lvl8pPr>
            <a:lvl9pPr marL="0" indent="0">
              <a:spcBef>
                <a:spcPts val="0"/>
              </a:spcBef>
              <a:buNone/>
              <a:defRPr sz="2398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2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2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998" b="0">
                <a:latin typeface="+mj-lt"/>
              </a:defRPr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6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22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418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798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2" y="1524000"/>
            <a:ext cx="2968784" cy="4572000"/>
          </a:xfrm>
          <a:solidFill>
            <a:schemeClr val="accent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798"/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22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4638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D0B4BE-6FC5-431A-AC4C-755524DBC99F}" type="datetime4">
              <a:rPr lang="en-US" smtClean="0">
                <a:solidFill>
                  <a:prstClr val="black"/>
                </a:solidFill>
              </a:rPr>
              <a:pPr/>
              <a:t>March 22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0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78246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22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6908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798">
                <a:solidFill>
                  <a:schemeClr val="bg1"/>
                </a:solidFill>
              </a:defRPr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22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347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798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0" y="2819400"/>
            <a:ext cx="3657601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798">
                <a:solidFill>
                  <a:schemeClr val="tx1"/>
                </a:solidFill>
              </a:defRPr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22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8227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3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798">
                <a:solidFill>
                  <a:schemeClr val="bg1"/>
                </a:solidFill>
              </a:defRPr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798">
                <a:solidFill>
                  <a:schemeClr val="bg1"/>
                </a:solidFill>
              </a:defRPr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22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5806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5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798">
                <a:solidFill>
                  <a:schemeClr val="bg1"/>
                </a:solidFill>
              </a:defRPr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2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2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798">
                <a:solidFill>
                  <a:schemeClr val="bg1"/>
                </a:solidFill>
              </a:defRPr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6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7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6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798">
                <a:solidFill>
                  <a:schemeClr val="bg1"/>
                </a:solidFill>
              </a:defRPr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22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2579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7996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7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198"/>
            </a:lvl1pPr>
            <a:lvl2pPr marL="0" indent="0">
              <a:spcBef>
                <a:spcPts val="0"/>
              </a:spcBef>
              <a:buFontTx/>
              <a:buNone/>
              <a:defRPr sz="1998"/>
            </a:lvl2pPr>
            <a:lvl3pPr marL="0" indent="0">
              <a:spcBef>
                <a:spcPts val="0"/>
              </a:spcBef>
              <a:buFontTx/>
              <a:buNone/>
              <a:defRPr sz="1998"/>
            </a:lvl3pPr>
            <a:lvl4pPr marL="0" indent="0">
              <a:spcBef>
                <a:spcPts val="0"/>
              </a:spcBef>
              <a:buFontTx/>
              <a:buNone/>
              <a:defRPr sz="1998"/>
            </a:lvl4pPr>
            <a:lvl5pPr marL="0" indent="0">
              <a:spcBef>
                <a:spcPts val="0"/>
              </a:spcBef>
              <a:buFontTx/>
              <a:buNone/>
              <a:defRPr sz="1998"/>
            </a:lvl5pPr>
            <a:lvl6pPr marL="0" indent="0">
              <a:spcBef>
                <a:spcPts val="0"/>
              </a:spcBef>
              <a:buFontTx/>
              <a:buNone/>
              <a:defRPr sz="1998"/>
            </a:lvl6pPr>
            <a:lvl7pPr marL="0" indent="0">
              <a:spcBef>
                <a:spcPts val="0"/>
              </a:spcBef>
              <a:buFontTx/>
              <a:buNone/>
              <a:defRPr sz="1998"/>
            </a:lvl7pPr>
            <a:lvl8pPr marL="0" indent="0">
              <a:spcBef>
                <a:spcPts val="0"/>
              </a:spcBef>
              <a:buFontTx/>
              <a:buNone/>
              <a:defRPr sz="1998"/>
            </a:lvl8pPr>
            <a:lvl9pPr marL="0" indent="0">
              <a:spcBef>
                <a:spcPts val="0"/>
              </a:spcBef>
              <a:buFontTx/>
              <a:buNone/>
              <a:defRPr sz="199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5" y="457001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798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22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699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22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969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22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1133856"/>
            <a:ext cx="10972801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99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799"/>
            </a:lvl2pPr>
            <a:lvl3pPr marL="0" indent="0">
              <a:spcBef>
                <a:spcPts val="0"/>
              </a:spcBef>
              <a:buNone/>
              <a:defRPr sz="1799"/>
            </a:lvl3pPr>
            <a:lvl4pPr marL="0" indent="0">
              <a:spcBef>
                <a:spcPts val="0"/>
              </a:spcBef>
              <a:buNone/>
              <a:defRPr sz="1799"/>
            </a:lvl4pPr>
            <a:lvl5pPr marL="0" indent="0">
              <a:spcBef>
                <a:spcPts val="0"/>
              </a:spcBef>
              <a:buNone/>
              <a:defRPr sz="1799"/>
            </a:lvl5pPr>
            <a:lvl6pPr marL="0" indent="0">
              <a:spcBef>
                <a:spcPts val="0"/>
              </a:spcBef>
              <a:buNone/>
              <a:defRPr sz="1799"/>
            </a:lvl6pPr>
            <a:lvl7pPr marL="0" indent="0">
              <a:spcBef>
                <a:spcPts val="0"/>
              </a:spcBef>
              <a:buNone/>
              <a:defRPr sz="1799"/>
            </a:lvl7pPr>
            <a:lvl8pPr marL="0" indent="0">
              <a:spcBef>
                <a:spcPts val="0"/>
              </a:spcBef>
              <a:buNone/>
              <a:defRPr sz="1799"/>
            </a:lvl8pPr>
            <a:lvl9pPr marL="0" indent="0">
              <a:spcBef>
                <a:spcPts val="0"/>
              </a:spcBef>
              <a:buNone/>
              <a:defRPr sz="1799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676401"/>
            <a:ext cx="10972801" cy="44196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4218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22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1133856"/>
            <a:ext cx="10972801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99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799"/>
            </a:lvl2pPr>
            <a:lvl3pPr marL="0" indent="0">
              <a:spcBef>
                <a:spcPts val="0"/>
              </a:spcBef>
              <a:buNone/>
              <a:defRPr sz="1799"/>
            </a:lvl3pPr>
            <a:lvl4pPr marL="0" indent="0">
              <a:spcBef>
                <a:spcPts val="0"/>
              </a:spcBef>
              <a:buNone/>
              <a:defRPr sz="1799"/>
            </a:lvl4pPr>
            <a:lvl5pPr marL="0" indent="0">
              <a:spcBef>
                <a:spcPts val="0"/>
              </a:spcBef>
              <a:buNone/>
              <a:defRPr sz="1799"/>
            </a:lvl5pPr>
            <a:lvl6pPr marL="0" indent="0">
              <a:spcBef>
                <a:spcPts val="0"/>
              </a:spcBef>
              <a:buNone/>
              <a:defRPr sz="1799"/>
            </a:lvl6pPr>
            <a:lvl7pPr marL="0" indent="0">
              <a:spcBef>
                <a:spcPts val="0"/>
              </a:spcBef>
              <a:buNone/>
              <a:defRPr sz="1799"/>
            </a:lvl7pPr>
            <a:lvl8pPr marL="0" indent="0">
              <a:spcBef>
                <a:spcPts val="0"/>
              </a:spcBef>
              <a:buNone/>
              <a:defRPr sz="1799"/>
            </a:lvl8pPr>
            <a:lvl9pPr marL="0" indent="0">
              <a:spcBef>
                <a:spcPts val="0"/>
              </a:spcBef>
              <a:buNone/>
              <a:defRPr sz="1799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1" y="1661890"/>
            <a:ext cx="10972801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99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799"/>
            </a:lvl2pPr>
            <a:lvl3pPr marL="0" indent="0">
              <a:spcBef>
                <a:spcPts val="0"/>
              </a:spcBef>
              <a:buNone/>
              <a:defRPr sz="1799"/>
            </a:lvl3pPr>
            <a:lvl4pPr marL="0" indent="0">
              <a:spcBef>
                <a:spcPts val="0"/>
              </a:spcBef>
              <a:buNone/>
              <a:defRPr sz="1799"/>
            </a:lvl4pPr>
            <a:lvl5pPr marL="0" indent="0">
              <a:spcBef>
                <a:spcPts val="0"/>
              </a:spcBef>
              <a:buNone/>
              <a:defRPr sz="1799"/>
            </a:lvl5pPr>
            <a:lvl6pPr marL="0" indent="0">
              <a:spcBef>
                <a:spcPts val="0"/>
              </a:spcBef>
              <a:buNone/>
              <a:defRPr sz="1799"/>
            </a:lvl6pPr>
            <a:lvl7pPr marL="0" indent="0">
              <a:spcBef>
                <a:spcPts val="0"/>
              </a:spcBef>
              <a:buNone/>
              <a:defRPr sz="1799"/>
            </a:lvl7pPr>
            <a:lvl8pPr marL="0" indent="0">
              <a:spcBef>
                <a:spcPts val="0"/>
              </a:spcBef>
              <a:buNone/>
              <a:defRPr sz="1799"/>
            </a:lvl8pPr>
            <a:lvl9pPr marL="0" indent="0">
              <a:spcBef>
                <a:spcPts val="0"/>
              </a:spcBef>
              <a:buNone/>
              <a:defRPr sz="1799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2057400"/>
            <a:ext cx="10972801" cy="4038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751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22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1133856"/>
            <a:ext cx="10972801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99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799"/>
            </a:lvl2pPr>
            <a:lvl3pPr marL="0" indent="0">
              <a:spcBef>
                <a:spcPts val="0"/>
              </a:spcBef>
              <a:buNone/>
              <a:defRPr sz="1799"/>
            </a:lvl3pPr>
            <a:lvl4pPr marL="0" indent="0">
              <a:spcBef>
                <a:spcPts val="0"/>
              </a:spcBef>
              <a:buNone/>
              <a:defRPr sz="1799"/>
            </a:lvl4pPr>
            <a:lvl5pPr marL="0" indent="0">
              <a:spcBef>
                <a:spcPts val="0"/>
              </a:spcBef>
              <a:buNone/>
              <a:defRPr sz="1799"/>
            </a:lvl5pPr>
            <a:lvl6pPr marL="0" indent="0">
              <a:spcBef>
                <a:spcPts val="0"/>
              </a:spcBef>
              <a:buNone/>
              <a:defRPr sz="1799"/>
            </a:lvl6pPr>
            <a:lvl7pPr marL="0" indent="0">
              <a:spcBef>
                <a:spcPts val="0"/>
              </a:spcBef>
              <a:buNone/>
              <a:defRPr sz="1799"/>
            </a:lvl7pPr>
            <a:lvl8pPr marL="0" indent="0">
              <a:spcBef>
                <a:spcPts val="0"/>
              </a:spcBef>
              <a:buNone/>
              <a:defRPr sz="1799"/>
            </a:lvl8pPr>
            <a:lvl9pPr marL="0" indent="0">
              <a:spcBef>
                <a:spcPts val="0"/>
              </a:spcBef>
              <a:buNone/>
              <a:defRPr sz="1799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593224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D0663-9E45-4A95-BE4D-02D3705335A4}" type="datetime4">
              <a:rPr lang="en-US" smtClean="0">
                <a:solidFill>
                  <a:prstClr val="black"/>
                </a:solidFill>
              </a:rPr>
              <a:pPr/>
              <a:t>March 22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90033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1133856"/>
            <a:ext cx="10972801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99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799"/>
            </a:lvl2pPr>
            <a:lvl3pPr marL="0" indent="0">
              <a:spcBef>
                <a:spcPts val="0"/>
              </a:spcBef>
              <a:buNone/>
              <a:defRPr sz="1799"/>
            </a:lvl3pPr>
            <a:lvl4pPr marL="0" indent="0">
              <a:spcBef>
                <a:spcPts val="0"/>
              </a:spcBef>
              <a:buNone/>
              <a:defRPr sz="1799"/>
            </a:lvl4pPr>
            <a:lvl5pPr marL="0" indent="0">
              <a:spcBef>
                <a:spcPts val="0"/>
              </a:spcBef>
              <a:buNone/>
              <a:defRPr sz="1799"/>
            </a:lvl5pPr>
            <a:lvl6pPr marL="0" indent="0">
              <a:spcBef>
                <a:spcPts val="0"/>
              </a:spcBef>
              <a:buNone/>
              <a:defRPr sz="1799"/>
            </a:lvl6pPr>
            <a:lvl7pPr marL="0" indent="0">
              <a:spcBef>
                <a:spcPts val="0"/>
              </a:spcBef>
              <a:buNone/>
              <a:defRPr sz="1799"/>
            </a:lvl7pPr>
            <a:lvl8pPr marL="0" indent="0">
              <a:spcBef>
                <a:spcPts val="0"/>
              </a:spcBef>
              <a:buNone/>
              <a:defRPr sz="1799"/>
            </a:lvl8pPr>
            <a:lvl9pPr marL="0" indent="0">
              <a:spcBef>
                <a:spcPts val="0"/>
              </a:spcBef>
              <a:buNone/>
              <a:defRPr sz="1799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04800"/>
            <a:ext cx="10972801" cy="762000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676399"/>
            <a:ext cx="5315712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57401"/>
            <a:ext cx="5315712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66688" y="1676399"/>
            <a:ext cx="5315712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66688" y="2057401"/>
            <a:ext cx="5315712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22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0639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04800"/>
            <a:ext cx="10972801" cy="762000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22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09600" y="1295400"/>
            <a:ext cx="3413760" cy="4800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89122" y="1295400"/>
            <a:ext cx="3413760" cy="4800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168642" y="1295400"/>
            <a:ext cx="3413760" cy="4800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735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04800"/>
            <a:ext cx="10972801" cy="762000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22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295400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389122" y="1295400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8168642" y="1295400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09600" y="1676400"/>
            <a:ext cx="3413760" cy="4419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89122" y="1676400"/>
            <a:ext cx="3413760" cy="4419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168642" y="1676400"/>
            <a:ext cx="3413760" cy="4419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2815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04800"/>
            <a:ext cx="10972801" cy="762000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22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09601" y="1133856"/>
            <a:ext cx="10972801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99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799"/>
            </a:lvl2pPr>
            <a:lvl3pPr marL="0" indent="0">
              <a:spcBef>
                <a:spcPts val="0"/>
              </a:spcBef>
              <a:buNone/>
              <a:defRPr sz="1799"/>
            </a:lvl3pPr>
            <a:lvl4pPr marL="0" indent="0">
              <a:spcBef>
                <a:spcPts val="0"/>
              </a:spcBef>
              <a:buNone/>
              <a:defRPr sz="1799"/>
            </a:lvl4pPr>
            <a:lvl5pPr marL="0" indent="0">
              <a:spcBef>
                <a:spcPts val="0"/>
              </a:spcBef>
              <a:buNone/>
              <a:defRPr sz="1799"/>
            </a:lvl5pPr>
            <a:lvl6pPr marL="0" indent="0">
              <a:spcBef>
                <a:spcPts val="0"/>
              </a:spcBef>
              <a:buNone/>
              <a:defRPr sz="1799"/>
            </a:lvl6pPr>
            <a:lvl7pPr marL="0" indent="0">
              <a:spcBef>
                <a:spcPts val="0"/>
              </a:spcBef>
              <a:buNone/>
              <a:defRPr sz="1799"/>
            </a:lvl7pPr>
            <a:lvl8pPr marL="0" indent="0">
              <a:spcBef>
                <a:spcPts val="0"/>
              </a:spcBef>
              <a:buNone/>
              <a:defRPr sz="1799"/>
            </a:lvl8pPr>
            <a:lvl9pPr marL="0" indent="0">
              <a:spcBef>
                <a:spcPts val="0"/>
              </a:spcBef>
              <a:buNone/>
              <a:defRPr sz="1799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676399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389122" y="1676399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8168642" y="1676399"/>
            <a:ext cx="3413760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799" b="0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09600" y="2057400"/>
            <a:ext cx="3413760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89122" y="2057400"/>
            <a:ext cx="3413760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168642" y="2057400"/>
            <a:ext cx="3413760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1656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04800"/>
            <a:ext cx="10972801" cy="762000"/>
          </a:xfrm>
        </p:spPr>
        <p:txBody>
          <a:bodyPr anchor="b"/>
          <a:lstStyle>
            <a:lvl1pPr algn="l">
              <a:defRPr sz="2799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09600" y="1295400"/>
            <a:ext cx="6705600" cy="48006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799"/>
            </a:lvl1pPr>
            <a:lvl2pPr marL="457063" indent="0">
              <a:buNone/>
              <a:defRPr sz="2799"/>
            </a:lvl2pPr>
            <a:lvl3pPr marL="914126" indent="0">
              <a:buNone/>
              <a:defRPr sz="2399"/>
            </a:lvl3pPr>
            <a:lvl4pPr marL="1371189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40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22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680960" y="1295400"/>
            <a:ext cx="3901440" cy="4800600"/>
          </a:xfrm>
        </p:spPr>
        <p:txBody>
          <a:bodyPr>
            <a:normAutofit/>
          </a:bodyPr>
          <a:lstStyle>
            <a:lvl1pPr>
              <a:defRPr sz="1799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8065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304800"/>
            <a:ext cx="10972801" cy="762000"/>
          </a:xfrm>
        </p:spPr>
        <p:txBody>
          <a:bodyPr anchor="b"/>
          <a:lstStyle>
            <a:lvl1pPr algn="l">
              <a:defRPr sz="2799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09600" y="1295400"/>
            <a:ext cx="3413760" cy="2743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799"/>
            </a:lvl1pPr>
            <a:lvl2pPr marL="457063" indent="0">
              <a:buNone/>
              <a:defRPr sz="2799"/>
            </a:lvl2pPr>
            <a:lvl3pPr marL="914126" indent="0">
              <a:buNone/>
              <a:defRPr sz="2399"/>
            </a:lvl3pPr>
            <a:lvl4pPr marL="1371189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40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22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4211392"/>
            <a:ext cx="3413760" cy="1884608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/>
            </a:lvl1pPr>
            <a:lvl2pPr marL="457063" indent="0">
              <a:buNone/>
              <a:defRPr sz="1200"/>
            </a:lvl2pPr>
            <a:lvl3pPr marL="914126" indent="0">
              <a:buNone/>
              <a:defRPr sz="1000"/>
            </a:lvl3pPr>
            <a:lvl4pPr marL="1371189" indent="0">
              <a:buNone/>
              <a:defRPr sz="900"/>
            </a:lvl4pPr>
            <a:lvl5pPr marL="1828251" indent="0">
              <a:buNone/>
              <a:defRPr sz="900"/>
            </a:lvl5pPr>
            <a:lvl6pPr marL="2285314" indent="0">
              <a:buNone/>
              <a:defRPr sz="900"/>
            </a:lvl6pPr>
            <a:lvl7pPr marL="2742377" indent="0">
              <a:buNone/>
              <a:defRPr sz="900"/>
            </a:lvl7pPr>
            <a:lvl8pPr marL="3199440" indent="0">
              <a:buNone/>
              <a:defRPr sz="900"/>
            </a:lvl8pPr>
            <a:lvl9pPr marL="365650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>
          <a:xfrm>
            <a:off x="4389122" y="1295400"/>
            <a:ext cx="3413760" cy="2743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799"/>
            </a:lvl1pPr>
            <a:lvl2pPr marL="457063" indent="0">
              <a:buNone/>
              <a:defRPr sz="2799"/>
            </a:lvl2pPr>
            <a:lvl3pPr marL="914126" indent="0">
              <a:buNone/>
              <a:defRPr sz="2399"/>
            </a:lvl3pPr>
            <a:lvl4pPr marL="1371189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40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idx="16"/>
          </p:nvPr>
        </p:nvSpPr>
        <p:spPr>
          <a:xfrm>
            <a:off x="8168642" y="1295400"/>
            <a:ext cx="3413760" cy="2743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799"/>
            </a:lvl1pPr>
            <a:lvl2pPr marL="457063" indent="0">
              <a:buNone/>
              <a:defRPr sz="2799"/>
            </a:lvl2pPr>
            <a:lvl3pPr marL="914126" indent="0">
              <a:buNone/>
              <a:defRPr sz="2399"/>
            </a:lvl3pPr>
            <a:lvl4pPr marL="1371189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40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4389122" y="4211392"/>
            <a:ext cx="3413760" cy="1884608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/>
            </a:lvl1pPr>
            <a:lvl2pPr marL="457063" indent="0">
              <a:buNone/>
              <a:defRPr sz="1200"/>
            </a:lvl2pPr>
            <a:lvl3pPr marL="914126" indent="0">
              <a:buNone/>
              <a:defRPr sz="1000"/>
            </a:lvl3pPr>
            <a:lvl4pPr marL="1371189" indent="0">
              <a:buNone/>
              <a:defRPr sz="900"/>
            </a:lvl4pPr>
            <a:lvl5pPr marL="1828251" indent="0">
              <a:buNone/>
              <a:defRPr sz="900"/>
            </a:lvl5pPr>
            <a:lvl6pPr marL="2285314" indent="0">
              <a:buNone/>
              <a:defRPr sz="900"/>
            </a:lvl6pPr>
            <a:lvl7pPr marL="2742377" indent="0">
              <a:buNone/>
              <a:defRPr sz="900"/>
            </a:lvl7pPr>
            <a:lvl8pPr marL="3199440" indent="0">
              <a:buNone/>
              <a:defRPr sz="900"/>
            </a:lvl8pPr>
            <a:lvl9pPr marL="365650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8"/>
          </p:nvPr>
        </p:nvSpPr>
        <p:spPr>
          <a:xfrm>
            <a:off x="8168642" y="4211392"/>
            <a:ext cx="3413760" cy="1884608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/>
            </a:lvl1pPr>
            <a:lvl2pPr marL="457063" indent="0">
              <a:buNone/>
              <a:defRPr sz="1200"/>
            </a:lvl2pPr>
            <a:lvl3pPr marL="914126" indent="0">
              <a:buNone/>
              <a:defRPr sz="1000"/>
            </a:lvl3pPr>
            <a:lvl4pPr marL="1371189" indent="0">
              <a:buNone/>
              <a:defRPr sz="900"/>
            </a:lvl4pPr>
            <a:lvl5pPr marL="1828251" indent="0">
              <a:buNone/>
              <a:defRPr sz="900"/>
            </a:lvl5pPr>
            <a:lvl6pPr marL="2285314" indent="0">
              <a:buNone/>
              <a:defRPr sz="900"/>
            </a:lvl6pPr>
            <a:lvl7pPr marL="2742377" indent="0">
              <a:buNone/>
              <a:defRPr sz="900"/>
            </a:lvl7pPr>
            <a:lvl8pPr marL="3199440" indent="0">
              <a:buNone/>
              <a:defRPr sz="900"/>
            </a:lvl8pPr>
            <a:lvl9pPr marL="365650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1769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A Wheel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92000" cy="6858000"/>
          </a:xfrm>
          <a:prstGeom prst="rect">
            <a:avLst/>
          </a:prstGeom>
        </p:spPr>
      </p:pic>
      <p:grpSp>
        <p:nvGrpSpPr>
          <p:cNvPr id="13" name="Group 12"/>
          <p:cNvGrpSpPr/>
          <p:nvPr userDrawn="1"/>
        </p:nvGrpSpPr>
        <p:grpSpPr>
          <a:xfrm>
            <a:off x="613325" y="6246758"/>
            <a:ext cx="969470" cy="390524"/>
            <a:chOff x="3578225" y="1146175"/>
            <a:chExt cx="5038725" cy="2111375"/>
          </a:xfrm>
        </p:grpSpPr>
        <p:sp>
          <p:nvSpPr>
            <p:cNvPr id="14" name="Freeform 13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sz="1798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Freeform 14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sz="1798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20831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  <p:sp>
        <p:nvSpPr>
          <p:cNvPr id="18" name="Rectangle 17"/>
          <p:cNvSpPr/>
          <p:nvPr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5537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with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  <p:sp>
        <p:nvSpPr>
          <p:cNvPr id="18" name="Rectangle 17"/>
          <p:cNvSpPr/>
          <p:nvPr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2916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96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00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96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  <p:sp>
        <p:nvSpPr>
          <p:cNvPr id="18" name="Rectangle 17"/>
          <p:cNvSpPr/>
          <p:nvPr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4648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D90948-EF85-45A8-A477-A43A69A7358F}" type="datetime4">
              <a:rPr lang="en-US" smtClean="0">
                <a:solidFill>
                  <a:prstClr val="white"/>
                </a:solidFill>
              </a:rPr>
              <a:pPr/>
              <a:t>March 22, 2020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Private | Confidential | 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09433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anchor="ctr"/>
          <a:lstStyle>
            <a:lvl1pPr marL="0" indent="0" algn="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19839" y="2743510"/>
            <a:ext cx="5630583" cy="1485280"/>
          </a:xfrm>
        </p:spPr>
        <p:txBody>
          <a:bodyPr anchor="t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  <a:br>
              <a:rPr lang="en-US" dirty="0"/>
            </a:br>
            <a:r>
              <a:rPr lang="en-US" dirty="0"/>
              <a:t>or big idea statement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5559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504950"/>
            <a:ext cx="12192000" cy="329565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81001" y="2686713"/>
            <a:ext cx="8522208" cy="499365"/>
          </a:xfrm>
        </p:spPr>
        <p:txBody>
          <a:bodyPr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1000" y="341392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9DE89E88-AA0C-49B4-9BC1-610AE2FDBE94}"/>
              </a:ext>
            </a:extLst>
          </p:cNvPr>
          <p:cNvSpPr/>
          <p:nvPr/>
        </p:nvSpPr>
        <p:spPr>
          <a:xfrm>
            <a:off x="381000" y="325863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270877" y="3314045"/>
            <a:ext cx="5532325" cy="2570834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5"/>
            </a:solidFill>
            <a:miter lim="800000"/>
          </a:ln>
        </p:spPr>
        <p:txBody>
          <a:bodyPr vert="horz" wrap="square" lIns="182880" tIns="182880" rIns="182880" bIns="182880" rtlCol="0">
            <a:noAutofit/>
          </a:bodyPr>
          <a:lstStyle/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 dirty="0">
                <a:latin typeface="MetricHPE Light" panose="020B0303030202060203" pitchFamily="34" charset="0"/>
              </a:rPr>
              <a:t>Please use a section divider image that relates well with the subject of your presentation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 dirty="0">
                <a:latin typeface="MetricHPE Light" panose="020B0303030202060203" pitchFamily="34" charset="0"/>
              </a:rPr>
              <a:t>To change your section image, go to </a:t>
            </a:r>
            <a:r>
              <a:rPr lang="en-US" sz="1500" dirty="0">
                <a:latin typeface="+mj-lt"/>
              </a:rPr>
              <a:t>[View] </a:t>
            </a:r>
            <a:r>
              <a:rPr lang="en-US" sz="1500" dirty="0">
                <a:latin typeface="MetricHPE Light" panose="020B0303030202060203" pitchFamily="34" charset="0"/>
              </a:rPr>
              <a:t>-&gt; </a:t>
            </a:r>
            <a:r>
              <a:rPr lang="en-US" sz="1500" dirty="0">
                <a:latin typeface="+mj-lt"/>
              </a:rPr>
              <a:t>[Slide Master] </a:t>
            </a:r>
            <a:r>
              <a:rPr lang="en-US" sz="1500" dirty="0">
                <a:latin typeface="MetricHPE Light" panose="020B0303030202060203" pitchFamily="34" charset="0"/>
              </a:rPr>
              <a:t>to delete and insert a new image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 dirty="0">
                <a:latin typeface="MetricHPE Light" panose="020B0303030202060203" pitchFamily="34" charset="0"/>
              </a:rPr>
              <a:t>A collection of images specifically formatted for use as PPT title slides can be found </a:t>
            </a:r>
            <a:r>
              <a:rPr lang="en-US" sz="1500" dirty="0">
                <a:latin typeface="+mj-lt"/>
                <a:hlinkClick r:id="rId4"/>
              </a:rPr>
              <a:t>here</a:t>
            </a:r>
            <a:r>
              <a:rPr lang="en-US" sz="1500" dirty="0">
                <a:latin typeface="MetricHPE Light" panose="020B0303030202060203" pitchFamily="34" charset="0"/>
              </a:rPr>
              <a:t> in the HPE Brand Library, and cropped to fit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en-US" sz="1500" dirty="0">
                <a:latin typeface="+mj-lt"/>
              </a:rPr>
              <a:t>Please delete this box in the Slide Master after you update your title image.</a:t>
            </a:r>
          </a:p>
          <a:p>
            <a:pPr>
              <a:lnSpc>
                <a:spcPct val="90000"/>
              </a:lnSpc>
            </a:pPr>
            <a:endParaRPr lang="en-US" sz="1500" dirty="0" err="1">
              <a:solidFill>
                <a:schemeClr val="bg1"/>
              </a:solidFill>
              <a:latin typeface="MetricHPE Light" panose="020B03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3341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3246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2810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Private | Confidential | Internal Use Only 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4683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77895" y="2143788"/>
            <a:ext cx="8522208" cy="499365"/>
          </a:xfrm>
        </p:spPr>
        <p:txBody>
          <a:bodyPr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77894" y="2871000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Private | Confidential | Internal Use Only 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5632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79648" y="3262296"/>
            <a:ext cx="8522208" cy="499365"/>
          </a:xfrm>
        </p:spPr>
        <p:txBody>
          <a:bodyPr anchor="b" anchorCtr="0"/>
          <a:lstStyle>
            <a:lvl1pPr marL="219456" indent="-219456">
              <a:defRPr sz="4400" cap="none" baseline="0">
                <a:latin typeface="MetricHPE Semibold" panose="020B0703030202060203" pitchFamily="34" charset="0"/>
              </a:defRPr>
            </a:lvl1pPr>
          </a:lstStyle>
          <a:p>
            <a:r>
              <a:rPr lang="en-US" dirty="0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8247" y="3989508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6931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79648" y="3262296"/>
            <a:ext cx="8522208" cy="499365"/>
          </a:xfrm>
        </p:spPr>
        <p:txBody>
          <a:bodyPr anchor="b" anchorCtr="0"/>
          <a:lstStyle>
            <a:lvl1pPr marL="219456" indent="-219456">
              <a:defRPr sz="4400" cap="none" baseline="0">
                <a:latin typeface="MetricHPE Semibold" panose="020B0703030202060203" pitchFamily="34" charset="0"/>
              </a:defRPr>
            </a:lvl1pPr>
          </a:lstStyle>
          <a:p>
            <a:r>
              <a:rPr lang="en-US" dirty="0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8247" y="3989508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Private | Confidential | Internal Use Only 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514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7" name="Rectangle 16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8938" y="1018211"/>
            <a:ext cx="11422062" cy="507779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7411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9696" y="1363331"/>
            <a:ext cx="11430000" cy="4732669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9012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258756-6477-415D-AB8D-F0897E238762}" type="datetime4">
              <a:rPr lang="en-US" smtClean="0">
                <a:solidFill>
                  <a:prstClr val="white"/>
                </a:solidFill>
              </a:rPr>
              <a:pPr/>
              <a:t>March 22, 2020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Private | Confidential | 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73190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9696" y="1752066"/>
            <a:ext cx="11430000" cy="4343934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89696" y="1369346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7065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8" name="Rectangle 7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0301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48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22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9" name="Rectangle 8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014413"/>
            <a:ext cx="5422392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14"/>
          <p:cNvSpPr>
            <a:spLocks noGrp="1"/>
          </p:cNvSpPr>
          <p:nvPr>
            <p:ph sz="quarter" idx="18"/>
          </p:nvPr>
        </p:nvSpPr>
        <p:spPr>
          <a:xfrm>
            <a:off x="6388608" y="1014413"/>
            <a:ext cx="5422392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422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395413"/>
            <a:ext cx="5422392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014413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394014" y="1395413"/>
            <a:ext cx="5422392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398610" y="1014413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5668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3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757281"/>
            <a:ext cx="5422392" cy="433872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376280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388562" y="1376280"/>
            <a:ext cx="541779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sp>
        <p:nvSpPr>
          <p:cNvPr id="12" name="Content Placeholder 14"/>
          <p:cNvSpPr>
            <a:spLocks noGrp="1"/>
          </p:cNvSpPr>
          <p:nvPr>
            <p:ph sz="quarter" idx="24"/>
          </p:nvPr>
        </p:nvSpPr>
        <p:spPr>
          <a:xfrm>
            <a:off x="6385208" y="1757281"/>
            <a:ext cx="5422392" cy="433872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9478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7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14"/>
          <p:cNvSpPr>
            <a:spLocks noGrp="1"/>
          </p:cNvSpPr>
          <p:nvPr>
            <p:ph sz="quarter" idx="19"/>
          </p:nvPr>
        </p:nvSpPr>
        <p:spPr>
          <a:xfrm>
            <a:off x="8284558" y="1014413"/>
            <a:ext cx="352958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3070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014413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284558" y="1014413"/>
            <a:ext cx="353184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Content Placeholder 14"/>
          <p:cNvSpPr>
            <a:spLocks noGrp="1"/>
          </p:cNvSpPr>
          <p:nvPr>
            <p:ph sz="quarter" idx="22"/>
          </p:nvPr>
        </p:nvSpPr>
        <p:spPr>
          <a:xfrm>
            <a:off x="8284558" y="1395413"/>
            <a:ext cx="352958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335556" y="1014413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6411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89696" y="1383214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284558" y="1383214"/>
            <a:ext cx="353184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3" name="Content Placeholder 14"/>
          <p:cNvSpPr>
            <a:spLocks noGrp="1"/>
          </p:cNvSpPr>
          <p:nvPr>
            <p:ph sz="quarter" idx="17"/>
          </p:nvPr>
        </p:nvSpPr>
        <p:spPr>
          <a:xfrm>
            <a:off x="385100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8"/>
          </p:nvPr>
        </p:nvSpPr>
        <p:spPr>
          <a:xfrm>
            <a:off x="4335556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2"/>
          </p:nvPr>
        </p:nvSpPr>
        <p:spPr>
          <a:xfrm>
            <a:off x="8284558" y="1764215"/>
            <a:ext cx="3529584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335556" y="1383214"/>
            <a:ext cx="352498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696" y="776493"/>
            <a:ext cx="11421304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28" name="Rectangle 27"/>
          <p:cNvSpPr/>
          <p:nvPr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4314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slideLayout" Target="../slideLayouts/slideLayout61.xml"/><Relationship Id="rId39" Type="http://schemas.openxmlformats.org/officeDocument/2006/relationships/slideLayout" Target="../slideLayouts/slideLayout74.xml"/><Relationship Id="rId3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56.xml"/><Relationship Id="rId34" Type="http://schemas.openxmlformats.org/officeDocument/2006/relationships/slideLayout" Target="../slideLayouts/slideLayout69.xml"/><Relationship Id="rId42" Type="http://schemas.openxmlformats.org/officeDocument/2006/relationships/theme" Target="../theme/theme2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slideLayout" Target="../slideLayouts/slideLayout60.xml"/><Relationship Id="rId33" Type="http://schemas.openxmlformats.org/officeDocument/2006/relationships/slideLayout" Target="../slideLayouts/slideLayout68.xml"/><Relationship Id="rId38" Type="http://schemas.openxmlformats.org/officeDocument/2006/relationships/slideLayout" Target="../slideLayouts/slideLayout73.xml"/><Relationship Id="rId46" Type="http://schemas.openxmlformats.org/officeDocument/2006/relationships/image" Target="../media/image2.emf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29" Type="http://schemas.openxmlformats.org/officeDocument/2006/relationships/slideLayout" Target="../slideLayouts/slideLayout64.xml"/><Relationship Id="rId41" Type="http://schemas.openxmlformats.org/officeDocument/2006/relationships/slideLayout" Target="../slideLayouts/slideLayout76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slideLayout" Target="../slideLayouts/slideLayout59.xml"/><Relationship Id="rId32" Type="http://schemas.openxmlformats.org/officeDocument/2006/relationships/slideLayout" Target="../slideLayouts/slideLayout67.xml"/><Relationship Id="rId37" Type="http://schemas.openxmlformats.org/officeDocument/2006/relationships/slideLayout" Target="../slideLayouts/slideLayout72.xml"/><Relationship Id="rId40" Type="http://schemas.openxmlformats.org/officeDocument/2006/relationships/slideLayout" Target="../slideLayouts/slideLayout75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slideLayout" Target="../slideLayouts/slideLayout58.xml"/><Relationship Id="rId28" Type="http://schemas.openxmlformats.org/officeDocument/2006/relationships/slideLayout" Target="../slideLayouts/slideLayout63.xml"/><Relationship Id="rId36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31" Type="http://schemas.openxmlformats.org/officeDocument/2006/relationships/slideLayout" Target="../slideLayouts/slideLayout66.xml"/><Relationship Id="rId44" Type="http://schemas.openxmlformats.org/officeDocument/2006/relationships/tags" Target="../tags/tag1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slideLayout" Target="../slideLayouts/slideLayout57.xml"/><Relationship Id="rId27" Type="http://schemas.openxmlformats.org/officeDocument/2006/relationships/slideLayout" Target="../slideLayouts/slideLayout62.xml"/><Relationship Id="rId30" Type="http://schemas.openxmlformats.org/officeDocument/2006/relationships/slideLayout" Target="../slideLayouts/slideLayout65.xml"/><Relationship Id="rId35" Type="http://schemas.openxmlformats.org/officeDocument/2006/relationships/slideLayout" Target="../slideLayouts/slideLayout70.xml"/><Relationship Id="rId43" Type="http://schemas.openxmlformats.org/officeDocument/2006/relationships/vmlDrawing" Target="../drawings/vmlDrawing1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slideLayout" Target="../slideLayouts/slideLayout89.xml"/><Relationship Id="rId18" Type="http://schemas.openxmlformats.org/officeDocument/2006/relationships/slideLayout" Target="../slideLayouts/slideLayout94.xml"/><Relationship Id="rId26" Type="http://schemas.openxmlformats.org/officeDocument/2006/relationships/slideLayout" Target="../slideLayouts/slideLayout102.xml"/><Relationship Id="rId39" Type="http://schemas.openxmlformats.org/officeDocument/2006/relationships/theme" Target="../theme/theme3.xml"/><Relationship Id="rId3" Type="http://schemas.openxmlformats.org/officeDocument/2006/relationships/slideLayout" Target="../slideLayouts/slideLayout79.xml"/><Relationship Id="rId21" Type="http://schemas.openxmlformats.org/officeDocument/2006/relationships/slideLayout" Target="../slideLayouts/slideLayout97.xml"/><Relationship Id="rId34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17" Type="http://schemas.openxmlformats.org/officeDocument/2006/relationships/slideLayout" Target="../slideLayouts/slideLayout93.xml"/><Relationship Id="rId25" Type="http://schemas.openxmlformats.org/officeDocument/2006/relationships/slideLayout" Target="../slideLayouts/slideLayout101.xml"/><Relationship Id="rId33" Type="http://schemas.openxmlformats.org/officeDocument/2006/relationships/slideLayout" Target="../slideLayouts/slideLayout109.xml"/><Relationship Id="rId38" Type="http://schemas.openxmlformats.org/officeDocument/2006/relationships/slideLayout" Target="../slideLayouts/slideLayout114.xml"/><Relationship Id="rId2" Type="http://schemas.openxmlformats.org/officeDocument/2006/relationships/slideLayout" Target="../slideLayouts/slideLayout78.xml"/><Relationship Id="rId16" Type="http://schemas.openxmlformats.org/officeDocument/2006/relationships/slideLayout" Target="../slideLayouts/slideLayout92.xml"/><Relationship Id="rId20" Type="http://schemas.openxmlformats.org/officeDocument/2006/relationships/slideLayout" Target="../slideLayouts/slideLayout96.xml"/><Relationship Id="rId29" Type="http://schemas.openxmlformats.org/officeDocument/2006/relationships/slideLayout" Target="../slideLayouts/slideLayout105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24" Type="http://schemas.openxmlformats.org/officeDocument/2006/relationships/slideLayout" Target="../slideLayouts/slideLayout100.xml"/><Relationship Id="rId32" Type="http://schemas.openxmlformats.org/officeDocument/2006/relationships/slideLayout" Target="../slideLayouts/slideLayout108.xml"/><Relationship Id="rId37" Type="http://schemas.openxmlformats.org/officeDocument/2006/relationships/slideLayout" Target="../slideLayouts/slideLayout113.xml"/><Relationship Id="rId40" Type="http://schemas.openxmlformats.org/officeDocument/2006/relationships/image" Target="../media/image5.jpg"/><Relationship Id="rId5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91.xml"/><Relationship Id="rId23" Type="http://schemas.openxmlformats.org/officeDocument/2006/relationships/slideLayout" Target="../slideLayouts/slideLayout99.xml"/><Relationship Id="rId28" Type="http://schemas.openxmlformats.org/officeDocument/2006/relationships/slideLayout" Target="../slideLayouts/slideLayout104.xml"/><Relationship Id="rId36" Type="http://schemas.openxmlformats.org/officeDocument/2006/relationships/slideLayout" Target="../slideLayouts/slideLayout112.xml"/><Relationship Id="rId10" Type="http://schemas.openxmlformats.org/officeDocument/2006/relationships/slideLayout" Target="../slideLayouts/slideLayout86.xml"/><Relationship Id="rId19" Type="http://schemas.openxmlformats.org/officeDocument/2006/relationships/slideLayout" Target="../slideLayouts/slideLayout95.xml"/><Relationship Id="rId31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90.xml"/><Relationship Id="rId22" Type="http://schemas.openxmlformats.org/officeDocument/2006/relationships/slideLayout" Target="../slideLayouts/slideLayout98.xml"/><Relationship Id="rId27" Type="http://schemas.openxmlformats.org/officeDocument/2006/relationships/slideLayout" Target="../slideLayouts/slideLayout103.xml"/><Relationship Id="rId30" Type="http://schemas.openxmlformats.org/officeDocument/2006/relationships/slideLayout" Target="../slideLayouts/slideLayout106.xml"/><Relationship Id="rId35" Type="http://schemas.openxmlformats.org/officeDocument/2006/relationships/slideLayout" Target="../slideLayouts/slideLayout1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0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fld id="{F4A495B1-C011-4E9A-BB1F-BF136034FD23}" type="datetime4">
              <a:rPr lang="en-US" smtClean="0">
                <a:solidFill>
                  <a:prstClr val="black"/>
                </a:solidFill>
              </a:rPr>
              <a:pPr/>
              <a:t>March 22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30868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600">
                <a:solidFill>
                  <a:schemeClr val="accent4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13810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736" r:id="rId34"/>
    <p:sldLayoutId id="2147483737" r:id="rId3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44"/>
            </p:custDataLst>
          </p:nvPr>
        </p:nvGraphicFramePr>
        <p:xfrm>
          <a:off x="1590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90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3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4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608013" y="437706"/>
            <a:ext cx="10972801" cy="18288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798" dirty="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4" y="6426104"/>
            <a:ext cx="99557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/>
              <a:t>3/22/202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HPE Confidential,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30872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600">
                <a:solidFill>
                  <a:schemeClr val="accent5"/>
                </a:solidFill>
              </a:defRPr>
            </a:lvl1pPr>
          </a:lstStyle>
          <a:p>
            <a:fld id="{00DE720E-C72B-42F0-AD69-52D60E3C605E}" type="slidenum">
              <a:rPr lang="en-US" smtClean="0">
                <a:solidFill>
                  <a:srgbClr val="617D78"/>
                </a:solidFill>
              </a:rPr>
              <a:pPr/>
              <a:t>‹#›</a:t>
            </a:fld>
            <a:endParaRPr lang="en-US" dirty="0">
              <a:solidFill>
                <a:srgbClr val="617D78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4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798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149154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10" r:id="rId16"/>
    <p:sldLayoutId id="2147483711" r:id="rId17"/>
    <p:sldLayoutId id="2147483712" r:id="rId18"/>
    <p:sldLayoutId id="2147483713" r:id="rId19"/>
    <p:sldLayoutId id="2147483714" r:id="rId20"/>
    <p:sldLayoutId id="2147483715" r:id="rId21"/>
    <p:sldLayoutId id="2147483716" r:id="rId22"/>
    <p:sldLayoutId id="2147483717" r:id="rId23"/>
    <p:sldLayoutId id="2147483718" r:id="rId24"/>
    <p:sldLayoutId id="2147483719" r:id="rId25"/>
    <p:sldLayoutId id="2147483720" r:id="rId26"/>
    <p:sldLayoutId id="2147483721" r:id="rId27"/>
    <p:sldLayoutId id="2147483722" r:id="rId28"/>
    <p:sldLayoutId id="2147483723" r:id="rId29"/>
    <p:sldLayoutId id="2147483724" r:id="rId30"/>
    <p:sldLayoutId id="2147483725" r:id="rId31"/>
    <p:sldLayoutId id="2147483726" r:id="rId32"/>
    <p:sldLayoutId id="2147483727" r:id="rId33"/>
    <p:sldLayoutId id="2147483728" r:id="rId34"/>
    <p:sldLayoutId id="2147483729" r:id="rId35"/>
    <p:sldLayoutId id="2147483730" r:id="rId36"/>
    <p:sldLayoutId id="2147483731" r:id="rId37"/>
    <p:sldLayoutId id="2147483732" r:id="rId38"/>
    <p:sldLayoutId id="2147483733" r:id="rId39"/>
    <p:sldLayoutId id="2147483734" r:id="rId40"/>
    <p:sldLayoutId id="2147483735" r:id="rId4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3852" rtl="0" eaLnBrk="1" latinLnBrk="0" hangingPunct="1">
        <a:lnSpc>
          <a:spcPct val="90000"/>
        </a:lnSpc>
        <a:spcBef>
          <a:spcPct val="0"/>
        </a:spcBef>
        <a:buNone/>
        <a:defRPr sz="2798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770" indent="-182770" algn="l" defTabSz="913852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–"/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11234" indent="-182770" algn="l" defTabSz="913852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310" indent="-137078" algn="l" defTabSz="913852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082" indent="-137078" algn="l" defTabSz="913852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158" indent="-137078" algn="l" defTabSz="913852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0930" indent="-137078" algn="l" defTabSz="913852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006" indent="-137078" algn="l" defTabSz="913852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0778" indent="-137078" algn="l" defTabSz="913852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3548" indent="-137078" algn="l" defTabSz="913852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926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852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778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7703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4628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1554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8480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5406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91852"/>
            <a:ext cx="11430000" cy="4013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159" y="1163782"/>
            <a:ext cx="1142983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40"/>
              </a:buBlip>
              <a:defRPr sz="2000" kern="1200" cap="all" normalizeH="0" baseline="10000">
                <a:solidFill>
                  <a:schemeClr val="bg2"/>
                </a:solidFill>
                <a:latin typeface="MetricHPE Light" panose="020B03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88056" y="6336077"/>
            <a:ext cx="4114800" cy="22071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lnSpc>
                <a:spcPct val="90000"/>
              </a:lnSpc>
              <a:defRPr sz="1200" cap="all" baseline="0">
                <a:solidFill>
                  <a:schemeClr val="bg2"/>
                </a:solidFill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233434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  <p:sldLayoutId id="2147483753" r:id="rId15"/>
    <p:sldLayoutId id="2147483754" r:id="rId16"/>
    <p:sldLayoutId id="2147483755" r:id="rId17"/>
    <p:sldLayoutId id="2147483756" r:id="rId18"/>
    <p:sldLayoutId id="2147483757" r:id="rId19"/>
    <p:sldLayoutId id="2147483758" r:id="rId20"/>
    <p:sldLayoutId id="2147483759" r:id="rId21"/>
    <p:sldLayoutId id="2147483760" r:id="rId22"/>
    <p:sldLayoutId id="2147483761" r:id="rId23"/>
    <p:sldLayoutId id="2147483762" r:id="rId24"/>
    <p:sldLayoutId id="2147483763" r:id="rId25"/>
    <p:sldLayoutId id="2147483764" r:id="rId26"/>
    <p:sldLayoutId id="2147483765" r:id="rId27"/>
    <p:sldLayoutId id="2147483766" r:id="rId28"/>
    <p:sldLayoutId id="2147483767" r:id="rId29"/>
    <p:sldLayoutId id="2147483768" r:id="rId30"/>
    <p:sldLayoutId id="2147483769" r:id="rId31"/>
    <p:sldLayoutId id="2147483770" r:id="rId32"/>
    <p:sldLayoutId id="2147483771" r:id="rId33"/>
    <p:sldLayoutId id="2147483772" r:id="rId34"/>
    <p:sldLayoutId id="2147483773" r:id="rId35"/>
    <p:sldLayoutId id="2147483774" r:id="rId36"/>
    <p:sldLayoutId id="2147483775" r:id="rId37"/>
    <p:sldLayoutId id="2147483776" r:id="rId3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baseline="0">
          <a:solidFill>
            <a:schemeClr val="tx1"/>
          </a:solidFill>
          <a:latin typeface="MetricHPE Black" panose="020B0A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•"/>
        <a:defRPr sz="20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SzPct val="90000"/>
        <a:buFont typeface="MetricHPE Light" panose="020B0303030202060203" pitchFamily="34" charset="0"/>
        <a:buChar char="•"/>
        <a:defRPr sz="18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6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4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MetricHPE Light" panose="020B0303030202060203" pitchFamily="34" charset="0"/>
        <a:buChar char="–"/>
        <a:defRPr sz="14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0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shish Kumar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02/28/2020</a:t>
            </a:r>
            <a:endParaRPr lang="en-GB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08013" y="2042083"/>
            <a:ext cx="10860898" cy="1905000"/>
          </a:xfrm>
        </p:spPr>
        <p:txBody>
          <a:bodyPr/>
          <a:lstStyle/>
          <a:p>
            <a:r>
              <a:rPr lang="en-US" sz="4000" dirty="0"/>
              <a:t>xGT+Ensign Co-Execution on SDFX</a:t>
            </a:r>
            <a:endParaRPr lang="en-GB" sz="4000" dirty="0"/>
          </a:p>
        </p:txBody>
      </p:sp>
    </p:spTree>
    <p:extLst>
      <p:ext uri="{BB962C8B-B14F-4D97-AF65-F5344CB8AC3E}">
        <p14:creationId xmlns:p14="http://schemas.microsoft.com/office/powerpoint/2010/main" val="2691435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2</a:t>
            </a:fld>
            <a:endParaRPr lang="en-US" dirty="0">
              <a:solidFill>
                <a:srgbClr val="5F7A76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67369" y="94949"/>
            <a:ext cx="11876505" cy="782019"/>
          </a:xfrm>
        </p:spPr>
        <p:txBody>
          <a:bodyPr/>
          <a:lstStyle/>
          <a:p>
            <a:r>
              <a:rPr lang="en-US" dirty="0"/>
              <a:t>Cybersecurity graph &amp; AI – combined execution </a:t>
            </a:r>
            <a:br>
              <a:rPr lang="en-US" dirty="0"/>
            </a:br>
            <a:r>
              <a:rPr lang="en-US" dirty="0"/>
              <a:t>Configuration and Performance – Pre-optimization</a:t>
            </a:r>
            <a:endParaRPr lang="en-GB" dirty="0"/>
          </a:p>
        </p:txBody>
      </p:sp>
      <p:sp>
        <p:nvSpPr>
          <p:cNvPr id="2" name="TextBox 1"/>
          <p:cNvSpPr txBox="1"/>
          <p:nvPr/>
        </p:nvSpPr>
        <p:spPr>
          <a:xfrm>
            <a:off x="144724" y="4870338"/>
            <a:ext cx="11606464" cy="1488613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182880" tIns="182880" rIns="182880" bIns="18288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1100" b="1" u="sng" dirty="0"/>
              <a:t>Key Observations</a:t>
            </a:r>
          </a:p>
          <a:p>
            <a:pPr marL="342900" indent="-342900" algn="l">
              <a:lnSpc>
                <a:spcPct val="90000"/>
              </a:lnSpc>
              <a:spcBef>
                <a:spcPts val="400"/>
              </a:spcBef>
              <a:buAutoNum type="arabicPeriod"/>
            </a:pPr>
            <a:r>
              <a:rPr lang="en-US" sz="1100" b="1" u="sng" dirty="0"/>
              <a:t>ENSIGN Tensor Decomposition phase execution performance degrades in combined environment. </a:t>
            </a:r>
          </a:p>
          <a:p>
            <a:pPr marL="342900" indent="-342900" algn="l">
              <a:lnSpc>
                <a:spcPct val="90000"/>
              </a:lnSpc>
              <a:spcBef>
                <a:spcPts val="400"/>
              </a:spcBef>
              <a:buAutoNum type="arabicPeriod"/>
            </a:pPr>
            <a:r>
              <a:rPr lang="en-US" sz="1100" b="1" u="sng" dirty="0"/>
              <a:t>xGT Data Load performance degrades in combined execution environment.</a:t>
            </a:r>
          </a:p>
          <a:p>
            <a:pPr marL="342900" indent="-342900">
              <a:lnSpc>
                <a:spcPct val="90000"/>
              </a:lnSpc>
              <a:spcBef>
                <a:spcPts val="400"/>
              </a:spcBef>
              <a:buFontTx/>
              <a:buAutoNum type="arabicPeriod"/>
            </a:pPr>
            <a:r>
              <a:rPr lang="en-US" sz="1100" b="1" u="sng" dirty="0"/>
              <a:t>CPU and Memory binding would be required for combined workflow execution</a:t>
            </a:r>
            <a:endParaRPr lang="en-GB" sz="1100" b="1" u="sng" dirty="0"/>
          </a:p>
          <a:p>
            <a:pPr marL="342900" indent="-342900" algn="l">
              <a:lnSpc>
                <a:spcPct val="90000"/>
              </a:lnSpc>
              <a:spcBef>
                <a:spcPts val="400"/>
              </a:spcBef>
              <a:buAutoNum type="arabicPeriod"/>
            </a:pPr>
            <a:r>
              <a:rPr lang="en-US" sz="1100" b="1" u="sng" dirty="0"/>
              <a:t>We observed that in combined execution environment ideally CPU resource allocation should have been 50% for xGT &amp; ENSIGN however actual allocation was uneven upto 79% for xGT and only nearly 40% for ENSIGN leading to performance degrade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1548600"/>
              </p:ext>
            </p:extLst>
          </p:nvPr>
        </p:nvGraphicFramePr>
        <p:xfrm>
          <a:off x="321754" y="982407"/>
          <a:ext cx="11252408" cy="3991697"/>
        </p:xfrm>
        <a:graphic>
          <a:graphicData uri="http://schemas.openxmlformats.org/drawingml/2006/table">
            <a:tbl>
              <a:tblPr/>
              <a:tblGrid>
                <a:gridCol w="205464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1929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1560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05942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9262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32754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383713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1019298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1115609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1059428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</a:tblGrid>
              <a:tr h="151771">
                <a:tc gridSpan="10"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st Run : 02/25/2020</a:t>
                      </a:r>
                    </a:p>
                  </a:txBody>
                  <a:tcPr marL="8046" marR="8046" marT="80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1771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SIGN</a:t>
                      </a:r>
                    </a:p>
                  </a:txBody>
                  <a:tcPr marL="8046" marR="8046" marT="80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46" marR="8046" marT="80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46" marR="8046" marT="80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GT</a:t>
                      </a:r>
                    </a:p>
                  </a:txBody>
                  <a:tcPr marL="8046" marR="8046" marT="80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49580"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ronment Parameters</a:t>
                      </a:r>
                    </a:p>
                  </a:txBody>
                  <a:tcPr marL="8046" marR="8046" marT="80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bined Execution</a:t>
                      </a:r>
                    </a:p>
                  </a:txBody>
                  <a:tcPr marL="8046" marR="8046" marT="80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lone Execution</a:t>
                      </a:r>
                      <a:b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limited core/memory)</a:t>
                      </a:r>
                    </a:p>
                  </a:txBody>
                  <a:tcPr marL="8046" marR="8046" marT="80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lone Execution</a:t>
                      </a:r>
                      <a:b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full scale)</a:t>
                      </a:r>
                    </a:p>
                  </a:txBody>
                  <a:tcPr marL="8046" marR="8046" marT="80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46" marR="8046" marT="80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46" marR="8046" marT="8046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GT 1.3 (LANL Attack Performance)</a:t>
                      </a:r>
                    </a:p>
                  </a:txBody>
                  <a:tcPr marL="8046" marR="8046" marT="80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bined Execution</a:t>
                      </a:r>
                    </a:p>
                  </a:txBody>
                  <a:tcPr marL="8046" marR="8046" marT="80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lone Execution</a:t>
                      </a:r>
                      <a:b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limited core/memory)</a:t>
                      </a:r>
                    </a:p>
                  </a:txBody>
                  <a:tcPr marL="8046" marR="8046" marT="80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lone Execution</a:t>
                      </a:r>
                      <a:b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full scale)</a:t>
                      </a:r>
                    </a:p>
                  </a:txBody>
                  <a:tcPr marL="8046" marR="8046" marT="80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51771"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ython Version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7.4</a:t>
                      </a:r>
                    </a:p>
                  </a:txBody>
                  <a:tcPr marL="8046" marR="8046" marT="80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46" marR="8046" marT="8046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ython Version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7.4</a:t>
                      </a:r>
                    </a:p>
                  </a:txBody>
                  <a:tcPr marL="8046" marR="8046" marT="80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51771"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ython Package Manager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aconda</a:t>
                      </a:r>
                    </a:p>
                  </a:txBody>
                  <a:tcPr marL="8046" marR="8046" marT="80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46" marR="8046" marT="8046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ython Package Manager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yPi</a:t>
                      </a:r>
                    </a:p>
                  </a:txBody>
                  <a:tcPr marL="8046" marR="8046" marT="80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51771"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/W Version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2</a:t>
                      </a:r>
                    </a:p>
                  </a:txBody>
                  <a:tcPr marL="8046" marR="8046" marT="80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46" marR="8046" marT="8046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/W Version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0</a:t>
                      </a:r>
                    </a:p>
                  </a:txBody>
                  <a:tcPr marL="8046" marR="8046" marT="80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22844"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put Data(GB) - CICDDoS2019 ( DNS+Syn )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6</a:t>
                      </a:r>
                    </a:p>
                  </a:txBody>
                  <a:tcPr marL="8046" marR="8046" marT="80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46" marR="8046" marT="8046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put Data(GB) - LANL Day 85 ( 1v+2v+nf )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</a:t>
                      </a:r>
                    </a:p>
                  </a:txBody>
                  <a:tcPr marL="8046" marR="8046" marT="80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51771"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-Case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oS Attack Pattern Detection</a:t>
                      </a:r>
                    </a:p>
                  </a:txBody>
                  <a:tcPr marL="8046" marR="8046" marT="80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46" marR="8046" marT="8046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-Case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teral Movement Attack Pattern</a:t>
                      </a:r>
                    </a:p>
                  </a:txBody>
                  <a:tcPr marL="8046" marR="8046" marT="80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151771"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vCPUs Available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(50%)</a:t>
                      </a:r>
                    </a:p>
                  </a:txBody>
                  <a:tcPr marL="8046" marR="8046" marT="80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(50%)</a:t>
                      </a:r>
                    </a:p>
                  </a:txBody>
                  <a:tcPr marL="8046" marR="8046" marT="80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(100%)</a:t>
                      </a:r>
                    </a:p>
                  </a:txBody>
                  <a:tcPr marL="8046" marR="8046" marT="80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46" marR="8046" marT="8046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vCPUs Available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(50%)</a:t>
                      </a:r>
                    </a:p>
                  </a:txBody>
                  <a:tcPr marL="8046" marR="8046" marT="80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(50%)</a:t>
                      </a:r>
                    </a:p>
                  </a:txBody>
                  <a:tcPr marL="8046" marR="8046" marT="80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(100%)</a:t>
                      </a:r>
                    </a:p>
                  </a:txBody>
                  <a:tcPr marL="8046" marR="8046" marT="80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151771"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vCPUs Allocated(%)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(~40%)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(79%)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(100%)</a:t>
                      </a:r>
                    </a:p>
                  </a:txBody>
                  <a:tcPr marL="8046" marR="8046" marT="80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46" marR="8046" marT="8046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vCPUs Allocated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(79%)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(79%)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(100%)</a:t>
                      </a:r>
                    </a:p>
                  </a:txBody>
                  <a:tcPr marL="8046" marR="8046" marT="80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151771"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Memory Allocated (TB)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8046" marR="8046" marT="80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46" marR="8046" marT="8046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Memory Allocated (TB)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8046" marR="8046" marT="80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151771"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No. of Components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46" marR="8046" marT="8046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No. of Edges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,088,856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,088,856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,088,856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151771"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v2tensor(sec)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.34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322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46" marR="8046" marT="8046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DP Hack Edges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572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572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572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151771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composing tensor w/ CP (sec)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.06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.59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.69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46" marR="8046" marT="8046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ata Load Time (1v+2v+nf)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3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9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151771"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sualization (sec)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.3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46" marR="8046" marT="8046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tract Forward RDP Edges Time (sec)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2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1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4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151771"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xtual Report Generation (sec)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7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46" marR="8046" marT="8046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tract Reverse RDP Edges Time (sec)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3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2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4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151771"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Time Taken (sec)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0.4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.59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.612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46" marR="8046" marT="8046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teral Movement Query Execution Time(sec)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6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5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2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151771"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PU Utilization (max)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%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%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46" marR="8046" marT="8046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PU Utilization (max)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%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217118">
                <a:tc rowSpan="4" gridSpan="4"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e : </a:t>
                      </a:r>
                      <a:b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) Above results can vary based on configured environment parameters like vCPUs/Memory </a:t>
                      </a:r>
                      <a:b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) No. of components is critical to performance. As a standard, one could achieve better performance on reduced no. of components</a:t>
                      </a:r>
                      <a:b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) If intermittent output is not generated then total time taken can be further reduced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4"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4"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46" marR="8046" marT="8046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 rowSpan="4" gridSpan="4"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e :</a:t>
                      </a:r>
                      <a:b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) Input data size is directly proportional to Total Data Load Time</a:t>
                      </a:r>
                      <a:b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) Package Manager for xGT &amp; Ensign are different that would require individual environment consideration for xGT &amp; ENSIGN</a:t>
                      </a:r>
                      <a:b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) vCPU allocation can be further optimized for CPU thread binding but would not impact much on query execution time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4"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4"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  <a:tr h="217118">
                <a:tc gridSpan="4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46" marR="8046" marT="8046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 gridSpan="4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9"/>
                  </a:ext>
                </a:extLst>
              </a:tr>
              <a:tr h="217118">
                <a:tc gridSpan="4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46" marR="8046" marT="8046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 gridSpan="4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20"/>
                  </a:ext>
                </a:extLst>
              </a:tr>
              <a:tr h="217221">
                <a:tc gridSpan="4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46" marR="8046" marT="80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46" marR="8046" marT="8046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 gridSpan="4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16021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3</a:t>
            </a:fld>
            <a:endParaRPr lang="en-US" dirty="0">
              <a:solidFill>
                <a:srgbClr val="5F7A76"/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086135"/>
              </p:ext>
            </p:extLst>
          </p:nvPr>
        </p:nvGraphicFramePr>
        <p:xfrm>
          <a:off x="389696" y="1007121"/>
          <a:ext cx="11421305" cy="4411069"/>
        </p:xfrm>
        <a:graphic>
          <a:graphicData uri="http://schemas.openxmlformats.org/drawingml/2006/table">
            <a:tbl>
              <a:tblPr/>
              <a:tblGrid>
                <a:gridCol w="2668196"/>
                <a:gridCol w="970022"/>
                <a:gridCol w="1061678"/>
                <a:gridCol w="1008211"/>
                <a:gridCol w="183311"/>
                <a:gridCol w="221501"/>
                <a:gridCol w="2268475"/>
                <a:gridCol w="970022"/>
                <a:gridCol w="1061678"/>
                <a:gridCol w="1008211"/>
              </a:tblGrid>
              <a:tr h="203841">
                <a:tc gridSpan="10"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st Run : 03/18/2020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141446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SIGN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GT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366957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ironment Parameters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bined Execution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lone Execution</a:t>
                      </a:r>
                      <a:b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limited core/memory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lone Execution</a:t>
                      </a:r>
                      <a:b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full scale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GT 1.3 (LANL Attack Performance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bined Execution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lone Execution</a:t>
                      </a:r>
                      <a:b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limited core/memory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lone Execution</a:t>
                      </a:r>
                      <a:b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full scale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</a:tr>
              <a:tr h="141446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ython Version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7.4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ython Version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7.4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141446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ython Package Manager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aconda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ython Package Manager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yPi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141446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/W Version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2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/W Version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0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261677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put Data(GB) - CICDDoS2019 </a:t>
                      </a:r>
                      <a:b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 DNS+LDAP+MSSQL+NetBIOS+NTP+SNMP+SSDP+UDP+Syn+TFTP+UDPLag )</a:t>
                      </a:r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put Data(GB) - LANL Day 85 </a:t>
                      </a:r>
                      <a:endParaRPr lang="en-US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b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v+2v+nf 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148519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Cores Available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(50%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(50%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(100%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Cores Available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(50%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 (50%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(100%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1446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Cores Allocated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(50%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(50%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(100%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Cores Allocated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(50%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(50%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(100%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1446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Memory Allocated (TB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Memory Allocated (TB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1446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No. of Components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No. of Edges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,088,856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,088,856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,088,856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8519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v2tensor(sec) - Including disk write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1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1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DP Hack Edges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572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572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572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144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composing tensor w/ CP (sec) - Including disk write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ata Load Time (1v+2v+nf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4.1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7.2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1446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sualization (sec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tract Forward RDP Edges Time (sec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2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1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4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1446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xtual Report Generation (sec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tract Reverse RDP Edges Time (sec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4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1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4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8519"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Time Taken (sec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4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1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1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teral Movement Query Execution Time(sec)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3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7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2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190953">
                <a:tc rowSpan="9" gridSpan="4"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e : </a:t>
                      </a:r>
                      <a:b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) rank: 50</a:t>
                      </a:r>
                      <a:b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) num_threads: 112(half-scale)/224(full-scale)</a:t>
                      </a:r>
                      <a:b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) mem_limit_gb: 3000</a:t>
                      </a:r>
                      <a:b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) dump_tensor_files: True</a:t>
                      </a:r>
                      <a:b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) dump_decomposition_files: True</a:t>
                      </a:r>
                      <a:b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) data drives = /dev/nvme13n1 = vCPUs = 196-223,420-447</a:t>
                      </a:r>
                      <a:b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) data drives =  /dev/nvme14n1 = vCPUs = 196-223,420-447</a:t>
                      </a:r>
                      <a:b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) taskset -c 112-223,336-447 workflow.py /root/ashish/reservoir_lab/ENSIGN-42/workflow_cfg.yml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9"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9"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9"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 rowSpan="9" gridSpan="4"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e :</a:t>
                      </a:r>
                      <a:b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)"worker_threads": 224,</a:t>
                      </a:r>
                      <a:b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)"io_threads": 224,</a:t>
                      </a:r>
                      <a:b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)"port": 4367,</a:t>
                      </a:r>
                      <a:b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)"max_memory": 3298534883328,</a:t>
                      </a:r>
                      <a:b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)"pin_threads": true</a:t>
                      </a:r>
                      <a:b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) data drives = 1V =  /nvme_data1 = /dev/nvme0n1 = vCPUs = 0-27,224-251 </a:t>
                      </a:r>
                      <a:b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) data drives = 2V = /nvme_data3 = /dev/nvme2n1 = vCPUs = 28-55,252-279 </a:t>
                      </a:r>
                      <a:b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) data drives = nf = /nvme_data5 = /dev/nvme4n1 = vCPUs = 56-83,280-307 </a:t>
                      </a:r>
                      <a:b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) </a:t>
                      </a:r>
                      <a:r>
                        <a:rPr lang="en-GB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skset</a:t>
                      </a:r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-c 0-111,224-335 xgtd -c /opt/xgtd/</a:t>
                      </a:r>
                      <a:r>
                        <a:rPr lang="en-GB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gtd.conf</a:t>
                      </a:r>
                      <a:endParaRPr lang="en-GB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9"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9"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9"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190953">
                <a:tc gridSpan="4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 gridSpan="4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190953">
                <a:tc gridSpan="4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 gridSpan="4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190953">
                <a:tc gridSpan="4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 gridSpan="4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190953">
                <a:tc gridSpan="4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 gridSpan="4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190953">
                <a:tc gridSpan="4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 gridSpan="4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190953">
                <a:tc gridSpan="4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 gridSpan="4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190953">
                <a:tc gridSpan="4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 gridSpan="4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190953">
                <a:tc gridSpan="4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088" marR="7088" marT="708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 gridSpan="4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89696" y="225102"/>
            <a:ext cx="11629309" cy="782019"/>
          </a:xfrm>
        </p:spPr>
        <p:txBody>
          <a:bodyPr/>
          <a:lstStyle/>
          <a:p>
            <a:r>
              <a:rPr lang="en-US" sz="2400" dirty="0"/>
              <a:t>Cybersecurity graph &amp; AI – combined execution </a:t>
            </a:r>
            <a:br>
              <a:rPr lang="en-US" sz="2400" dirty="0"/>
            </a:br>
            <a:r>
              <a:rPr lang="en-US" sz="2400" dirty="0"/>
              <a:t>Configuration and Performance – </a:t>
            </a:r>
            <a:r>
              <a:rPr lang="en-US" sz="2400" dirty="0" smtClean="0"/>
              <a:t>Post-optimization (multiple </a:t>
            </a:r>
            <a:r>
              <a:rPr lang="en-US" sz="2400" dirty="0" smtClean="0"/>
              <a:t>dataset</a:t>
            </a:r>
            <a:r>
              <a:rPr lang="en-US" sz="2400" dirty="0" smtClean="0"/>
              <a:t>)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1346124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st practices – combined execution of xgt &amp; ensign on </a:t>
            </a:r>
            <a:r>
              <a:rPr lang="en-US" dirty="0" smtClean="0"/>
              <a:t> sdfx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388938" y="1002120"/>
            <a:ext cx="11422062" cy="5077790"/>
          </a:xfrm>
        </p:spPr>
        <p:txBody>
          <a:bodyPr>
            <a:normAutofit fontScale="85000" lnSpcReduction="20000"/>
          </a:bodyPr>
          <a:lstStyle/>
          <a:p>
            <a:r>
              <a:rPr lang="en-US" sz="1900" dirty="0"/>
              <a:t>Distribute the input data across multiple </a:t>
            </a:r>
            <a:r>
              <a:rPr lang="en-US" sz="1900" dirty="0" err="1"/>
              <a:t>NVMe</a:t>
            </a:r>
            <a:r>
              <a:rPr lang="en-US" sz="1900" dirty="0"/>
              <a:t> data drives. Keep each input file upto a max of 2GB</a:t>
            </a:r>
          </a:p>
          <a:p>
            <a:r>
              <a:rPr lang="en-US" sz="1900" dirty="0"/>
              <a:t>Execute XGT &amp; ENSIGN against mapped CPU cores aligned to respective </a:t>
            </a:r>
            <a:r>
              <a:rPr lang="en-US" sz="1900" dirty="0" err="1"/>
              <a:t>NVMe</a:t>
            </a:r>
            <a:r>
              <a:rPr lang="en-US" sz="1900" dirty="0"/>
              <a:t> data drives</a:t>
            </a:r>
          </a:p>
          <a:p>
            <a:r>
              <a:rPr lang="en-US" sz="1900" dirty="0"/>
              <a:t>Sequence / time shift the initial data load operation into </a:t>
            </a:r>
            <a:r>
              <a:rPr lang="en-US" sz="1900" dirty="0" err="1"/>
              <a:t>xGT</a:t>
            </a:r>
            <a:r>
              <a:rPr lang="en-US" sz="1900" dirty="0"/>
              <a:t> &amp; Ensign (most costly operation).</a:t>
            </a:r>
          </a:p>
          <a:p>
            <a:r>
              <a:rPr lang="en-US" sz="1900" dirty="0"/>
              <a:t>When running in parallel, properly setting CPU affinity has a big impact on system performance.</a:t>
            </a:r>
          </a:p>
          <a:p>
            <a:pPr lvl="1"/>
            <a:r>
              <a:rPr lang="en-US" sz="1600" dirty="0"/>
              <a:t>Independent vCPU and memory allocation for both </a:t>
            </a:r>
            <a:r>
              <a:rPr lang="en-US" sz="1600" dirty="0" err="1"/>
              <a:t>xgtd</a:t>
            </a:r>
            <a:r>
              <a:rPr lang="en-US" sz="1600" dirty="0"/>
              <a:t> and Ensign</a:t>
            </a:r>
          </a:p>
          <a:p>
            <a:pPr lvl="1"/>
            <a:r>
              <a:rPr lang="en-US" sz="1600" dirty="0"/>
              <a:t>Allocation should be based on use case, not necessarily a percentage of system resources.  Starting point is 50%</a:t>
            </a:r>
          </a:p>
          <a:p>
            <a:r>
              <a:rPr lang="en-US" sz="1900" dirty="0"/>
              <a:t>Leverage individual environment variables for Python Package Manager implementation.</a:t>
            </a:r>
          </a:p>
          <a:p>
            <a:endParaRPr lang="en-US" dirty="0"/>
          </a:p>
          <a:p>
            <a:r>
              <a:rPr lang="en-US" b="1" u="sng" dirty="0"/>
              <a:t>xGT Specific:</a:t>
            </a:r>
          </a:p>
          <a:p>
            <a:pPr lvl="1"/>
            <a:r>
              <a:rPr lang="en-US" sz="1600" dirty="0"/>
              <a:t>Consider distributing Host, Authentication and Netflow Logs data across different </a:t>
            </a:r>
            <a:r>
              <a:rPr lang="en-US" sz="1600" dirty="0" err="1"/>
              <a:t>NVMe</a:t>
            </a:r>
            <a:r>
              <a:rPr lang="en-US" sz="1600" dirty="0"/>
              <a:t> drives</a:t>
            </a:r>
          </a:p>
          <a:p>
            <a:pPr lvl="1"/>
            <a:r>
              <a:rPr lang="en-US" sz="1600" dirty="0"/>
              <a:t>Different resource consumption models based on log data type (e.g. Netflow = resource intensive. Host logs = lighter resource utilization).</a:t>
            </a:r>
          </a:p>
          <a:p>
            <a:pPr lvl="1"/>
            <a:r>
              <a:rPr lang="en-US" sz="1600" dirty="0"/>
              <a:t>Advantages seen when pinning processes to CPUs (e.g. Lateral Movement Query execution)</a:t>
            </a:r>
          </a:p>
          <a:p>
            <a:pPr lvl="1"/>
            <a:r>
              <a:rPr lang="en-US" sz="1600" dirty="0"/>
              <a:t>Python Package Manager: </a:t>
            </a:r>
            <a:r>
              <a:rPr lang="en-US" sz="1600" dirty="0" err="1"/>
              <a:t>PyPi</a:t>
            </a:r>
            <a:endParaRPr lang="en-US" sz="1600" dirty="0"/>
          </a:p>
          <a:p>
            <a:pPr lvl="1"/>
            <a:r>
              <a:rPr lang="en-US" sz="1600" dirty="0"/>
              <a:t>Required Dataset for </a:t>
            </a:r>
            <a:r>
              <a:rPr lang="en-US" sz="1600" dirty="0" err="1"/>
              <a:t>xGT</a:t>
            </a:r>
            <a:r>
              <a:rPr lang="en-US" sz="1600" dirty="0"/>
              <a:t>: CSV</a:t>
            </a:r>
          </a:p>
          <a:p>
            <a:pPr lvl="1"/>
            <a:endParaRPr lang="en-US" dirty="0"/>
          </a:p>
          <a:p>
            <a:r>
              <a:rPr lang="en-US" b="1" u="sng" dirty="0"/>
              <a:t>Ensign Specific:</a:t>
            </a:r>
          </a:p>
          <a:p>
            <a:pPr lvl="1"/>
            <a:r>
              <a:rPr lang="en-US" sz="1600" dirty="0"/>
              <a:t>Data Load &amp; Tensor Decomposition phase are most resource consuming. </a:t>
            </a:r>
          </a:p>
          <a:p>
            <a:pPr lvl="1"/>
            <a:r>
              <a:rPr lang="en-US" sz="1600" dirty="0"/>
              <a:t>Choosing the right number of components will have an impact.  Based on our testing, we used 25 components (50% of 8S/6TB) as the starting point</a:t>
            </a:r>
            <a:r>
              <a:rPr lang="en-US" sz="1600" dirty="0" smtClean="0"/>
              <a:t>.</a:t>
            </a:r>
          </a:p>
          <a:p>
            <a:pPr lvl="1"/>
            <a:r>
              <a:rPr lang="en-US" sz="1600" dirty="0" smtClean="0"/>
              <a:t>Configure </a:t>
            </a:r>
            <a:r>
              <a:rPr lang="en-US" sz="1600" dirty="0"/>
              <a:t>OMP Threads proportionate to allocated cores, and set </a:t>
            </a:r>
            <a:r>
              <a:rPr lang="en-US" sz="1600" dirty="0" smtClean="0"/>
              <a:t>“</a:t>
            </a:r>
            <a:r>
              <a:rPr lang="en-GB" sz="1600" dirty="0" smtClean="0"/>
              <a:t>NUM_THREADS” </a:t>
            </a:r>
            <a:r>
              <a:rPr lang="en-GB" sz="1600" dirty="0"/>
              <a:t>mapping to allocated physical </a:t>
            </a:r>
            <a:r>
              <a:rPr lang="en-GB" sz="1600" dirty="0" smtClean="0"/>
              <a:t>cores</a:t>
            </a:r>
          </a:p>
          <a:p>
            <a:pPr lvl="1"/>
            <a:r>
              <a:rPr lang="en-US" sz="1600" dirty="0"/>
              <a:t>DO NOT configure any other specific OpenMP tunings like </a:t>
            </a:r>
            <a:r>
              <a:rPr lang="en-US" sz="1600" dirty="0" smtClean="0"/>
              <a:t>OMP_PLACES , OMP_PROC_BIND has it would impact the performance</a:t>
            </a:r>
            <a:endParaRPr lang="en-US" sz="1600" dirty="0"/>
          </a:p>
          <a:p>
            <a:pPr lvl="1"/>
            <a:r>
              <a:rPr lang="en-US" sz="1600" dirty="0"/>
              <a:t>Intermittent results dump of tensor decomposition should be disabled by default and enabled on need basis. </a:t>
            </a:r>
          </a:p>
          <a:p>
            <a:pPr lvl="1"/>
            <a:r>
              <a:rPr lang="en-US" sz="1600" dirty="0"/>
              <a:t>Python Package Manager: Anaconda</a:t>
            </a:r>
          </a:p>
          <a:p>
            <a:pPr lvl="1"/>
            <a:r>
              <a:rPr lang="en-US" sz="1600" dirty="0"/>
              <a:t>Required Dataset for Ensign: PCAP/CSV</a:t>
            </a:r>
          </a:p>
          <a:p>
            <a:pPr marL="0" indent="0">
              <a:buNone/>
            </a:pPr>
            <a:endParaRPr lang="en-US" dirty="0"/>
          </a:p>
          <a:p>
            <a:pPr lvl="1"/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0006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PE_Standard_Arial_16x9_v4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sz="11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FF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smtClean="0"/>
        </a:defPPr>
      </a:lstStyle>
    </a:txDef>
  </a:objectDefaults>
  <a:extraClrSchemeLst/>
  <a:custClrLst>
    <a:custClr name="0|169|130">
      <a:srgbClr val="00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HPE_Standard_Arial_16x9_v4.potx" id="{33E1E5A2-5199-4820-A66F-4091C073A05F}" vid="{002BF65F-E8AE-41C2-BA68-CEDEE5E69DD2}"/>
    </a:ext>
  </a:extLst>
</a:theme>
</file>

<file path=ppt/theme/theme2.xml><?xml version="1.0" encoding="utf-8"?>
<a:theme xmlns:a="http://schemas.openxmlformats.org/drawingml/2006/main" name="1_HPE_Standard_Metric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HPE">
      <a:majorFont>
        <a:latin typeface="Metric Bold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Metric Regular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DLON_SpeakerTemplate_v2" id="{6229C32F-7FD0-494F-9B22-FB6B622E1C91}" vid="{1C53FEB3-D5A7-4402-AED5-6B01C2FBFE3C}"/>
    </a:ext>
  </a:extLst>
</a:theme>
</file>

<file path=ppt/theme/theme3.xml><?xml version="1.0" encoding="utf-8"?>
<a:theme xmlns:a="http://schemas.openxmlformats.org/drawingml/2006/main" name="HPE_Standard_Metric_16x9_080117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A982"/>
      </a:hlink>
      <a:folHlink>
        <a:srgbClr val="01A982"/>
      </a:folHlink>
    </a:clrScheme>
    <a:fontScheme name="HPE Standard">
      <a:majorFont>
        <a:latin typeface="MetricHPE Semibold"/>
        <a:ea typeface=""/>
        <a:cs typeface=""/>
      </a:majorFont>
      <a:minorFont>
        <a:latin typeface="MetricHP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19050"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182880" tIns="182880" rIns="182880" bIns="182880" rtlCol="0">
        <a:spAutoFit/>
      </a:bodyPr>
      <a:lstStyle>
        <a:defPPr algn="l">
          <a:lnSpc>
            <a:spcPct val="90000"/>
          </a:lnSpc>
          <a:spcBef>
            <a:spcPts val="400"/>
          </a:spcBef>
          <a:defRPr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Presentation1" id="{3F13EFEA-E700-49A8-A141-CEC003F9713F}" vid="{1AC3D9A8-487E-4BB2-A872-B6E73E322E10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D313DA358095A4FBE56746DECF71FC6" ma:contentTypeVersion="13" ma:contentTypeDescription="Create a new document." ma:contentTypeScope="" ma:versionID="91eebb5b7b33a6b9a992f220bae59b70">
  <xsd:schema xmlns:xsd="http://www.w3.org/2001/XMLSchema" xmlns:xs="http://www.w3.org/2001/XMLSchema" xmlns:p="http://schemas.microsoft.com/office/2006/metadata/properties" xmlns:ns3="96fc89fe-dfaa-40e9-8901-68f0cdb77d8b" xmlns:ns4="d3f9fa95-54bb-48d6-98ab-d3ffdb16f09b" targetNamespace="http://schemas.microsoft.com/office/2006/metadata/properties" ma:root="true" ma:fieldsID="f4e8ff6a6cad31b890fc0b6e8629c5b6" ns3:_="" ns4:_="">
    <xsd:import namespace="96fc89fe-dfaa-40e9-8901-68f0cdb77d8b"/>
    <xsd:import namespace="d3f9fa95-54bb-48d6-98ab-d3ffdb16f09b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DateTaken" minOccurs="0"/>
                <xsd:element ref="ns4:MediaServiceLocation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fc89fe-dfaa-40e9-8901-68f0cdb77d8b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3f9fa95-54bb-48d6-98ab-d3ffdb16f09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MediaServiceLocation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657F6DC-4BE1-4416-9872-D6AEFA6E699E}">
  <ds:schemaRefs>
    <ds:schemaRef ds:uri="http://schemas.microsoft.com/office/2006/documentManagement/types"/>
    <ds:schemaRef ds:uri="http://schemas.openxmlformats.org/package/2006/metadata/core-properties"/>
    <ds:schemaRef ds:uri="96fc89fe-dfaa-40e9-8901-68f0cdb77d8b"/>
    <ds:schemaRef ds:uri="d3f9fa95-54bb-48d6-98ab-d3ffdb16f09b"/>
    <ds:schemaRef ds:uri="http://purl.org/dc/elements/1.1/"/>
    <ds:schemaRef ds:uri="http://purl.org/dc/dcmitype/"/>
    <ds:schemaRef ds:uri="http://www.w3.org/XML/1998/namespace"/>
    <ds:schemaRef ds:uri="http://schemas.microsoft.com/office/infopath/2007/PartnerControls"/>
    <ds:schemaRef ds:uri="http://schemas.microsoft.com/office/2006/metadata/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66C579E2-DB7F-4BD0-844F-DE114BE3E07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669C87C-53FC-41C9-A0D8-312F85F685B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fc89fe-dfaa-40e9-8901-68f0cdb77d8b"/>
    <ds:schemaRef ds:uri="d3f9fa95-54bb-48d6-98ab-d3ffdb16f09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1460</TotalTime>
  <Words>897</Words>
  <Application>Microsoft Office PowerPoint</Application>
  <PresentationFormat>Widescreen</PresentationFormat>
  <Paragraphs>345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5" baseType="lpstr">
      <vt:lpstr>Arial</vt:lpstr>
      <vt:lpstr>Calibri</vt:lpstr>
      <vt:lpstr>Metric Bold</vt:lpstr>
      <vt:lpstr>Metric Regular</vt:lpstr>
      <vt:lpstr>MetricHPE Black</vt:lpstr>
      <vt:lpstr>MetricHPE Light</vt:lpstr>
      <vt:lpstr>MetricHPE Semibold</vt:lpstr>
      <vt:lpstr>HPE_Standard_Arial_16x9_v4</vt:lpstr>
      <vt:lpstr>1_HPE_Standard_Metric_16x9_v2</vt:lpstr>
      <vt:lpstr>HPE_Standard_Metric_16x9_080117</vt:lpstr>
      <vt:lpstr>think-cell Slide</vt:lpstr>
      <vt:lpstr>xGT+Ensign Co-Execution on SDFX</vt:lpstr>
      <vt:lpstr>Cybersecurity graph &amp; AI – combined execution  Configuration and Performance – Pre-optimization</vt:lpstr>
      <vt:lpstr>Cybersecurity graph &amp; AI – combined execution  Configuration and Performance – Post-optimization (multiple dataset)</vt:lpstr>
      <vt:lpstr>Best practices – combined execution of xgt &amp; ensign on  sdfx</vt:lpstr>
    </vt:vector>
  </TitlesOfParts>
  <Company>Hewlett Packar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turi, Rahul</dc:creator>
  <cp:lastModifiedBy>Kumar, Ashish</cp:lastModifiedBy>
  <cp:revision>1164</cp:revision>
  <dcterms:created xsi:type="dcterms:W3CDTF">2018-03-06T11:33:48Z</dcterms:created>
  <dcterms:modified xsi:type="dcterms:W3CDTF">2020-03-22T14:39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D313DA358095A4FBE56746DECF71FC6</vt:lpwstr>
  </property>
</Properties>
</file>